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298.xml" ContentType="application/vnd.openxmlformats-officedocument.drawingml.chart+xml"/>
  <Override PartName="/ppt/charts/chart29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0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0"/>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RETAILER" id="{51B147E7-B7DF-4A7A-8D18-64C0EFCF06D8}">
          <p14:sldIdLst>
            <p14:sldId id="2147475173"/>
            <p14:sldId id="2147475174"/>
            <p14:sldId id="2147475175"/>
            <p14:sldId id="2147475176"/>
            <p14:sldId id="2147475177"/>
            <p14:sldId id="2147475178"/>
            <p14:sldId id="2147475179"/>
            <p14:sldId id="2147475180"/>
            <p14:sldId id="2147475181"/>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notesMaster" Target="notesMasters/notesMaster1.xml"/><Relationship Id="rId31" Type="http://schemas.openxmlformats.org/officeDocument/2006/relationships/presProps" Target="presProps.xml"/><Relationship Id="rId32" Type="http://schemas.openxmlformats.org/officeDocument/2006/relationships/viewProps" Target="viewProps.xml"/><Relationship Id="rId33" Type="http://schemas.openxmlformats.org/officeDocument/2006/relationships/theme" Target="theme/theme1.xml"/><Relationship Id="rId34" Type="http://schemas.openxmlformats.org/officeDocument/2006/relationships/tableStyles" Target="tableStyles.xml"/><Relationship Id="rId35" Type="http://schemas.microsoft.com/office/2015/10/relationships/revisionInfo" Target="revisionInfo.xml"/><Relationship Id="rId36"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298.xml.rels><?xml version='1.0' encoding='UTF-8' standalone='yes'?>
<Relationships xmlns="http://schemas.openxmlformats.org/package/2006/relationships"><Relationship Id="rId1" Type="http://schemas.openxmlformats.org/officeDocument/2006/relationships/package" Target="../embeddings/Microsoft_Excel_Worksheet297.xlsx"/></Relationships>
</file>

<file path=ppt/charts/_rels/chart299.xml.rels><?xml version='1.0' encoding='UTF-8' standalone='yes'?>
<Relationships xmlns="http://schemas.openxmlformats.org/package/2006/relationships"><Relationship Id="rId1" Type="http://schemas.openxmlformats.org/officeDocument/2006/relationships/package" Target="../embeddings/Microsoft_Excel_Worksheet29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00.xml.rels><?xml version='1.0' encoding='UTF-8' standalone='yes'?>
<Relationships xmlns="http://schemas.openxmlformats.org/package/2006/relationships"><Relationship Id="rId1" Type="http://schemas.openxmlformats.org/officeDocument/2006/relationships/package" Target="../embeddings/Microsoft_Excel_Worksheet29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3303497370545168</c:v>
                </c:pt>
                <c:pt idx="1">
                  <c:v>0.0008015867303194407</c:v>
                </c:pt>
                <c:pt idx="2">
                  <c:v>0.0045273898474471165</c:v>
                </c:pt>
                <c:pt idx="3">
                  <c:v>0.010784718575471577</c:v>
                </c:pt>
                <c:pt idx="4">
                  <c:v>0.014700803084192849</c:v>
                </c:pt>
                <c:pt idx="5">
                  <c:v>0.01641737998813221</c:v>
                </c:pt>
                <c:pt idx="6">
                  <c:v>0.009669039733590734</c:v>
                </c:pt>
                <c:pt idx="7">
                  <c:v>0.030122600347923512</c:v>
                </c:pt>
                <c:pt idx="8">
                  <c:v>0.01947100751642738</c:v>
                </c:pt>
                <c:pt idx="9">
                  <c:v>0.0058997853733387005</c:v>
                </c:pt>
                <c:pt idx="10">
                  <c:v>0.0004095392127470295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18615243730184993</c:v>
                </c:pt>
                <c:pt idx="5">
                  <c:v>0.01896502549652692</c:v>
                </c:pt>
                <c:pt idx="6">
                  <c:v>0.01726077346311387</c:v>
                </c:pt>
                <c:pt idx="7">
                  <c:v>0.016311361300978516</c:v>
                </c:pt>
                <c:pt idx="8">
                  <c:v>0.08246515083130951</c:v>
                </c:pt>
                <c:pt idx="9">
                  <c:v>0.01140012387078055</c:v>
                </c:pt>
                <c:pt idx="10">
                  <c:v>0.000838038549225973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8380385492259739</c:v>
                </c:pt>
                <c:pt idx="1">
                  <c:v>0.01140012387078055</c:v>
                </c:pt>
                <c:pt idx="2">
                  <c:v>0.016311361300978516</c:v>
                </c:pt>
                <c:pt idx="3">
                  <c:v>0.08246515083130951</c:v>
                </c:pt>
                <c:pt idx="4">
                  <c:v>0.01726077346311387</c:v>
                </c:pt>
                <c:pt idx="5">
                  <c:v>0.01896502549652692</c:v>
                </c:pt>
                <c:pt idx="6">
                  <c:v>0.00018615243730184993</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660921273015046e-05</c:v>
                </c:pt>
                <c:pt idx="1">
                  <c:v>0.0021167271179697643</c:v>
                </c:pt>
                <c:pt idx="2">
                  <c:v>0.00033213293493811386</c:v>
                </c:pt>
                <c:pt idx="3">
                  <c:v>0.007866591272100692</c:v>
                </c:pt>
                <c:pt idx="4">
                  <c:v>0.00306945275553278</c:v>
                </c:pt>
                <c:pt idx="5">
                  <c:v>0.007875995923436902</c:v>
                </c:pt>
                <c:pt idx="6">
                  <c:v>0.021394408701084867</c:v>
                </c:pt>
                <c:pt idx="7">
                  <c:v>0.01895965680448826</c:v>
                </c:pt>
                <c:pt idx="8">
                  <c:v>0.044857697249526145</c:v>
                </c:pt>
                <c:pt idx="9">
                  <c:v>0.020567878127733034</c:v>
                </c:pt>
                <c:pt idx="10">
                  <c:v>0.016230593847933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24908400446714014</c:v>
                </c:pt>
                <c:pt idx="7">
                  <c:v>0.0018803708507033347</c:v>
                </c:pt>
                <c:pt idx="8">
                  <c:v>0.004369274925996972</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2.6312042361883014e-07</c:v>
                </c:pt>
                <c:pt idx="5">
                  <c:v>0.00015578834041623694</c:v>
                </c:pt>
                <c:pt idx="6">
                  <c:v>0.00026057341791819983</c:v>
                </c:pt>
                <c:pt idx="7">
                  <c:v>0.0031474044080606668</c:v>
                </c:pt>
                <c:pt idx="8">
                  <c:v>0.004885009586371642</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31474044080606668</c:v>
                </c:pt>
                <c:pt idx="3">
                  <c:v>0.004885009586371642</c:v>
                </c:pt>
                <c:pt idx="4">
                  <c:v>0.00026057341791819983</c:v>
                </c:pt>
                <c:pt idx="5">
                  <c:v>0.00015578834041623694</c:v>
                </c:pt>
                <c:pt idx="6">
                  <c:v>2.6312042361883014e-07</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660921273015046e-05</c:v>
                </c:pt>
                <c:pt idx="1">
                  <c:v>0.0021167271179697643</c:v>
                </c:pt>
                <c:pt idx="2">
                  <c:v>0.00033213293493811386</c:v>
                </c:pt>
                <c:pt idx="3">
                  <c:v>0.007866591272100692</c:v>
                </c:pt>
                <c:pt idx="4">
                  <c:v>0.00306945275553278</c:v>
                </c:pt>
                <c:pt idx="5">
                  <c:v>0.007875995923436902</c:v>
                </c:pt>
                <c:pt idx="6">
                  <c:v>0.021394408701084867</c:v>
                </c:pt>
                <c:pt idx="7">
                  <c:v>0.01895965680448826</c:v>
                </c:pt>
                <c:pt idx="8">
                  <c:v>0.044857697249526145</c:v>
                </c:pt>
                <c:pt idx="9">
                  <c:v>0.020567878127733034</c:v>
                </c:pt>
                <c:pt idx="10">
                  <c:v>0.016230593847933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2562496345558577</c:v>
                </c:pt>
                <c:pt idx="5">
                  <c:v>0.008625546990269144</c:v>
                </c:pt>
                <c:pt idx="6">
                  <c:v>0.01145478071794009</c:v>
                </c:pt>
                <c:pt idx="7">
                  <c:v>0.022883222378001097</c:v>
                </c:pt>
                <c:pt idx="8">
                  <c:v>0.05329542368167689</c:v>
                </c:pt>
                <c:pt idx="9">
                  <c:v>0.007251936321712222</c:v>
                </c:pt>
                <c:pt idx="10">
                  <c:v>0.000801307300575532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2809690658374989</c:v>
                </c:pt>
                <c:pt idx="5">
                  <c:v>0.0043846185497573254</c:v>
                </c:pt>
                <c:pt idx="6">
                  <c:v>0.016601237523760515</c:v>
                </c:pt>
                <c:pt idx="7">
                  <c:v>0.042002967665951234</c:v>
                </c:pt>
                <c:pt idx="8">
                  <c:v>0.03574887950796415</c:v>
                </c:pt>
                <c:pt idx="9">
                  <c:v>0.008992305718647522</c:v>
                </c:pt>
                <c:pt idx="10">
                  <c:v>0.001076608769049459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3220514636903894</c:v>
                </c:pt>
                <c:pt idx="1">
                  <c:v>0.01244103752887199</c:v>
                </c:pt>
                <c:pt idx="2">
                  <c:v>0.0876245748015091</c:v>
                </c:pt>
                <c:pt idx="3">
                  <c:v>0.030282854374379737</c:v>
                </c:pt>
                <c:pt idx="4">
                  <c:v>0.14027776593737545</c:v>
                </c:pt>
                <c:pt idx="5">
                  <c:v>0.28950622024873895</c:v>
                </c:pt>
                <c:pt idx="6">
                  <c:v>0.21798642705429877</c:v>
                </c:pt>
                <c:pt idx="7">
                  <c:v>0.05658159874439702</c:v>
                </c:pt>
                <c:pt idx="8">
                  <c:v>0.09882715982471645</c:v>
                </c:pt>
                <c:pt idx="9">
                  <c:v>0.013251846848808615</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0766087690494593</c:v>
                </c:pt>
                <c:pt idx="1">
                  <c:v>0.008992305718647522</c:v>
                </c:pt>
                <c:pt idx="2">
                  <c:v>0.042002967665951234</c:v>
                </c:pt>
                <c:pt idx="3">
                  <c:v>0.03574887950796415</c:v>
                </c:pt>
                <c:pt idx="4">
                  <c:v>0.016601237523760515</c:v>
                </c:pt>
                <c:pt idx="5">
                  <c:v>0.0043846185497573254</c:v>
                </c:pt>
                <c:pt idx="6">
                  <c:v>0.0002809690658374989</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3303497370545168</c:v>
                </c:pt>
                <c:pt idx="1">
                  <c:v>0.0008015867303194407</c:v>
                </c:pt>
                <c:pt idx="2">
                  <c:v>0.0045273898474471165</c:v>
                </c:pt>
                <c:pt idx="3">
                  <c:v>0.010784718575471577</c:v>
                </c:pt>
                <c:pt idx="4">
                  <c:v>0.014700803084192849</c:v>
                </c:pt>
                <c:pt idx="5">
                  <c:v>0.01641737998813221</c:v>
                </c:pt>
                <c:pt idx="6">
                  <c:v>0.009669039733590734</c:v>
                </c:pt>
                <c:pt idx="7">
                  <c:v>0.030122600347923512</c:v>
                </c:pt>
                <c:pt idx="8">
                  <c:v>0.01947100751642738</c:v>
                </c:pt>
                <c:pt idx="9">
                  <c:v>0.0058997853733387005</c:v>
                </c:pt>
                <c:pt idx="10">
                  <c:v>0.0004095392127470295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4.660921273015046e-05</c:v>
                </c:pt>
                <c:pt idx="1">
                  <c:v>0.0021167271179697643</c:v>
                </c:pt>
                <c:pt idx="2">
                  <c:v>0.00033213293493811386</c:v>
                </c:pt>
                <c:pt idx="3">
                  <c:v>0.00306945275553278</c:v>
                </c:pt>
                <c:pt idx="4">
                  <c:v>0.007866591272100692</c:v>
                </c:pt>
                <c:pt idx="5">
                  <c:v>0.007875995923436902</c:v>
                </c:pt>
                <c:pt idx="6">
                  <c:v>0.021394408701084867</c:v>
                </c:pt>
                <c:pt idx="7">
                  <c:v>0.044857697249526145</c:v>
                </c:pt>
                <c:pt idx="8">
                  <c:v>0.01895965680448826</c:v>
                </c:pt>
                <c:pt idx="9">
                  <c:v>0.020567878127733034</c:v>
                </c:pt>
                <c:pt idx="10">
                  <c:v>0.016230593847933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1.1968898780611883e-07</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4562087169658495</c:v>
                </c:pt>
                <c:pt idx="4">
                  <c:v>0.0009848533050039476</c:v>
                </c:pt>
                <c:pt idx="5">
                  <c:v>0.009415266946315106</c:v>
                </c:pt>
                <c:pt idx="6">
                  <c:v>0.007089313658360362</c:v>
                </c:pt>
                <c:pt idx="7">
                  <c:v>0.0032140383391292813</c:v>
                </c:pt>
                <c:pt idx="8">
                  <c:v>0.0018401361323776464</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7.148203296867518e-07</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0.053220514636903894</c:v>
                </c:pt>
                <c:pt idx="1">
                  <c:v>0.01244103752887199</c:v>
                </c:pt>
                <c:pt idx="2">
                  <c:v>0.0876245748015091</c:v>
                </c:pt>
                <c:pt idx="3">
                  <c:v>0.14027776593737545</c:v>
                </c:pt>
                <c:pt idx="4">
                  <c:v>0.030282854374379737</c:v>
                </c:pt>
                <c:pt idx="5">
                  <c:v>0.28950622024873895</c:v>
                </c:pt>
                <c:pt idx="6">
                  <c:v>0.21798642705429877</c:v>
                </c:pt>
                <c:pt idx="7">
                  <c:v>0.09882715982471645</c:v>
                </c:pt>
                <c:pt idx="8">
                  <c:v>0.05658159874439702</c:v>
                </c:pt>
                <c:pt idx="9">
                  <c:v>0.013251846848808615</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2.49 €</c:v>
                </c:pt>
                <c:pt idx="8">
                  <c:v>2.5-2.9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7.148203296867518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3725619934971639</c:v>
                </c:pt>
                <c:pt idx="3">
                  <c:v>0.008949046454423844</c:v>
                </c:pt>
                <c:pt idx="4">
                  <c:v>0.006129297074432178</c:v>
                </c:pt>
                <c:pt idx="5">
                  <c:v>0.024515893736835173</c:v>
                </c:pt>
                <c:pt idx="6">
                  <c:v>0.015661540441294683</c:v>
                </c:pt>
                <c:pt idx="7">
                  <c:v>0.05133844013659845</c:v>
                </c:pt>
                <c:pt idx="8">
                  <c:v>0.057788673815089106</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4.660921273015046e-05</c:v>
                </c:pt>
                <c:pt idx="1">
                  <c:v>0.0021167271179697643</c:v>
                </c:pt>
                <c:pt idx="2">
                  <c:v>0.00033213293493811386</c:v>
                </c:pt>
                <c:pt idx="3">
                  <c:v>0.00306945275553278</c:v>
                </c:pt>
                <c:pt idx="4">
                  <c:v>0.007866591272100692</c:v>
                </c:pt>
                <c:pt idx="5">
                  <c:v>0.007875995923436902</c:v>
                </c:pt>
                <c:pt idx="6">
                  <c:v>0.021394408701084867</c:v>
                </c:pt>
                <c:pt idx="7">
                  <c:v>0.01895965680448826</c:v>
                </c:pt>
                <c:pt idx="8">
                  <c:v>0.044857697249526145</c:v>
                </c:pt>
                <c:pt idx="9">
                  <c:v>0.020567878127733034</c:v>
                </c:pt>
                <c:pt idx="10">
                  <c:v>0.016230593847933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24908400446714014</c:v>
                </c:pt>
                <c:pt idx="7">
                  <c:v>0.0018803708507033347</c:v>
                </c:pt>
                <c:pt idx="8">
                  <c:v>0.004369274925996972</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4562087169658495</c:v>
                </c:pt>
                <c:pt idx="4">
                  <c:v>0.0009848533050039476</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4580604413649191</c:v>
                </c:pt>
                <c:pt idx="7">
                  <c:v>0.006310183683359255</c:v>
                </c:pt>
                <c:pt idx="8">
                  <c:v>0.003254666313604992</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53220514636903894</c:v>
                </c:pt>
                <c:pt idx="1">
                  <c:v>0.01244103752887199</c:v>
                </c:pt>
                <c:pt idx="2">
                  <c:v>0.0876245748015091</c:v>
                </c:pt>
                <c:pt idx="3">
                  <c:v>0.14027776593737545</c:v>
                </c:pt>
                <c:pt idx="4">
                  <c:v>0.030282854374379737</c:v>
                </c:pt>
                <c:pt idx="5">
                  <c:v>0.28950622024873895</c:v>
                </c:pt>
                <c:pt idx="6">
                  <c:v>0.21798642705429877</c:v>
                </c:pt>
                <c:pt idx="7">
                  <c:v>0.05658159874439702</c:v>
                </c:pt>
                <c:pt idx="8">
                  <c:v>0.09882715982471645</c:v>
                </c:pt>
                <c:pt idx="9">
                  <c:v>0.013251846848808615</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6310183683359255</c:v>
                </c:pt>
                <c:pt idx="3">
                  <c:v>0.003254666313604992</c:v>
                </c:pt>
                <c:pt idx="4">
                  <c:v>0.004580604413649191</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6725119511910254e-05</c:v>
                </c:pt>
                <c:pt idx="5">
                  <c:v>0.005046177697882767</c:v>
                </c:pt>
                <c:pt idx="6">
                  <c:v>0.001767732023351506</c:v>
                </c:pt>
                <c:pt idx="7">
                  <c:v>0.003407204552062407</c:v>
                </c:pt>
                <c:pt idx="8">
                  <c:v>0.01011097879677797</c:v>
                </c:pt>
                <c:pt idx="9">
                  <c:v>0.0010393311528785402</c:v>
                </c:pt>
                <c:pt idx="10">
                  <c:v>0.000114841554527125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7471834201411426</c:v>
                </c:pt>
                <c:pt idx="1">
                  <c:v>0.01733909455451033</c:v>
                </c:pt>
                <c:pt idx="2">
                  <c:v>0.030917818303169083</c:v>
                </c:pt>
                <c:pt idx="3">
                  <c:v/>
                </c:pt>
                <c:pt idx="4">
                  <c:v>0.0001913243189511857</c:v>
                </c:pt>
                <c:pt idx="5">
                  <c:v>0.03726530710716553</c:v>
                </c:pt>
                <c:pt idx="6">
                  <c:v>0.028448033461384293</c:v>
                </c:pt>
                <c:pt idx="7">
                  <c:v>0.04432812257210345</c:v>
                </c:pt>
                <c:pt idx="8">
                  <c:v>0.055989035289387354</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2.8766119220219094e-05</c:v>
                </c:pt>
                <c:pt idx="5">
                  <c:v>0.00895253609845452</c:v>
                </c:pt>
                <c:pt idx="6">
                  <c:v>0.0037349618878602113</c:v>
                </c:pt>
                <c:pt idx="7">
                  <c:v>0.002741562254154543</c:v>
                </c:pt>
                <c:pt idx="8">
                  <c:v>0.015305374222457263</c:v>
                </c:pt>
                <c:pt idx="9">
                  <c:v>0.0017616601058001828</c:v>
                </c:pt>
                <c:pt idx="10">
                  <c:v>0.000129502020857689</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129502020857689</c:v>
                </c:pt>
                <c:pt idx="1">
                  <c:v>0.0017616601058001828</c:v>
                </c:pt>
                <c:pt idx="2">
                  <c:v>0.002741562254154543</c:v>
                </c:pt>
                <c:pt idx="3">
                  <c:v>0.015305374222457263</c:v>
                </c:pt>
                <c:pt idx="4">
                  <c:v>0.0037349618878602113</c:v>
                </c:pt>
                <c:pt idx="5">
                  <c:v>0.00895253609845452</c:v>
                </c:pt>
                <c:pt idx="6">
                  <c:v>2.8766119220219094e-05</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7153555707729703e-08</c:v>
                </c:pt>
                <c:pt idx="1">
                  <c:v/>
                </c:pt>
                <c:pt idx="2">
                  <c:v>8.598219798499514e-08</c:v>
                </c:pt>
                <c:pt idx="3">
                  <c:v>0.00952786168172719</c:v>
                </c:pt>
                <c:pt idx="4">
                  <c:v>0.001594827612528732</c:v>
                </c:pt>
                <c:pt idx="5">
                  <c:v>0.007150901400826601</c:v>
                </c:pt>
                <c:pt idx="6">
                  <c:v>0.0026931181094080954</c:v>
                </c:pt>
                <c:pt idx="7">
                  <c:v>0.006850399193774648</c:v>
                </c:pt>
                <c:pt idx="8">
                  <c:v>0.0028598150772591348</c:v>
                </c:pt>
                <c:pt idx="9">
                  <c:v>3.851402095278012e-06</c:v>
                </c:pt>
                <c:pt idx="10">
                  <c:v>6.61655527536404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4886027894011546</c:v>
                </c:pt>
                <c:pt idx="1">
                  <c:v/>
                </c:pt>
                <c:pt idx="2">
                  <c:v>0.001958758522147822</c:v>
                </c:pt>
                <c:pt idx="3">
                  <c:v>0.009855509573822144</c:v>
                </c:pt>
                <c:pt idx="4">
                  <c:v>0.005719409382308783</c:v>
                </c:pt>
                <c:pt idx="5">
                  <c:v>0.004337508565227065</c:v>
                </c:pt>
                <c:pt idx="6">
                  <c:v>0.0013018803595844597</c:v>
                </c:pt>
                <c:pt idx="7">
                  <c:v>0.011278574549747292</c:v>
                </c:pt>
                <c:pt idx="8">
                  <c:v>0.0017463101519809695</c:v>
                </c:pt>
                <c:pt idx="9">
                  <c:v>1.6426629961226484e-07</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1.6426629961226484e-07</c:v>
                </c:pt>
                <c:pt idx="2">
                  <c:v>0.011278574549747292</c:v>
                </c:pt>
                <c:pt idx="3">
                  <c:v>0.0017463101519809695</c:v>
                </c:pt>
                <c:pt idx="4">
                  <c:v>0.0013018803595844597</c:v>
                </c:pt>
                <c:pt idx="5">
                  <c:v>0.004337508565227065</c:v>
                </c:pt>
                <c:pt idx="6">
                  <c:v>0.005719409382308783</c:v>
                </c:pt>
                <c:pt idx="7">
                  <c:v>0.009855509573822144</c:v>
                </c:pt>
                <c:pt idx="8">
                  <c:v/>
                </c:pt>
                <c:pt idx="9">
                  <c:v>0.001958758522147822</c:v>
                </c:pt>
                <c:pt idx="10">
                  <c:v>0.000488602789401154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4432812257210345</c:v>
                </c:pt>
                <c:pt idx="3">
                  <c:v>0.055989035289387354</c:v>
                </c:pt>
                <c:pt idx="4">
                  <c:v>0.028448033461384293</c:v>
                </c:pt>
                <c:pt idx="5">
                  <c:v>0.03726530710716553</c:v>
                </c:pt>
                <c:pt idx="6">
                  <c:v>0.0001913243189511857</c:v>
                </c:pt>
                <c:pt idx="7">
                  <c:v/>
                </c:pt>
                <c:pt idx="8">
                  <c:v>0.01733909455451033</c:v>
                </c:pt>
                <c:pt idx="9">
                  <c:v>0.030917818303169083</c:v>
                </c:pt>
                <c:pt idx="10">
                  <c:v>0.000747183420141142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4325718494863588</c:v>
                </c:pt>
                <c:pt idx="3">
                  <c:v>0.0010390500489843798</c:v>
                </c:pt>
                <c:pt idx="4">
                  <c:v>0.0007116564270688653</c:v>
                </c:pt>
                <c:pt idx="5">
                  <c:v>0.0028464754002435724</c:v>
                </c:pt>
                <c:pt idx="6">
                  <c:v>0.002175401498526393</c:v>
                </c:pt>
                <c:pt idx="7">
                  <c:v>0.006230260631537109</c:v>
                </c:pt>
                <c:pt idx="8">
                  <c:v>0.0073358842734815265</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258113702107489e-05</c:v>
                </c:pt>
                <c:pt idx="1">
                  <c:v>0.0021484324270327876</c:v>
                </c:pt>
                <c:pt idx="2">
                  <c:v>0.0038309291876119076</c:v>
                </c:pt>
                <c:pt idx="3">
                  <c:v/>
                </c:pt>
                <c:pt idx="4">
                  <c:v>2.3747051887511674e-05</c:v>
                </c:pt>
                <c:pt idx="5">
                  <c:v>0.004641500429849126</c:v>
                </c:pt>
                <c:pt idx="6">
                  <c:v>0.00356517233722336</c:v>
                </c:pt>
                <c:pt idx="7">
                  <c:v>0.0059789257397110706</c:v>
                </c:pt>
                <c:pt idx="8">
                  <c:v>0.007692304564617296</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59789257397110706</c:v>
                </c:pt>
                <c:pt idx="3">
                  <c:v>0.007692304564617296</c:v>
                </c:pt>
                <c:pt idx="4">
                  <c:v>0.00356517233722336</c:v>
                </c:pt>
                <c:pt idx="5">
                  <c:v>0.004641500429849126</c:v>
                </c:pt>
                <c:pt idx="6">
                  <c:v>2.3747051887511674e-05</c:v>
                </c:pt>
                <c:pt idx="7">
                  <c:v/>
                </c:pt>
                <c:pt idx="8">
                  <c:v>0.0021484324270327876</c:v>
                </c:pt>
                <c:pt idx="9">
                  <c:v>0.0038309291876119076</c:v>
                </c:pt>
                <c:pt idx="10">
                  <c:v>9.258113702107489e-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6725119511910254e-05</c:v>
                </c:pt>
                <c:pt idx="5">
                  <c:v>0.005046177697882767</c:v>
                </c:pt>
                <c:pt idx="6">
                  <c:v>0.001767732023351506</c:v>
                </c:pt>
                <c:pt idx="7">
                  <c:v>0.003407204552062407</c:v>
                </c:pt>
                <c:pt idx="8">
                  <c:v>0.01011097879677797</c:v>
                </c:pt>
                <c:pt idx="9">
                  <c:v>0.0010393311528785402</c:v>
                </c:pt>
                <c:pt idx="10">
                  <c:v>0.0001148415545271259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1678286570401371</c:v>
                </c:pt>
                <c:pt idx="5">
                  <c:v>0.0037133906303849374</c:v>
                </c:pt>
                <c:pt idx="6">
                  <c:v>0.0037208927261637654</c:v>
                </c:pt>
                <c:pt idx="7">
                  <c:v>0.00679273624153866</c:v>
                </c:pt>
                <c:pt idx="8">
                  <c:v>0.008278392075711362</c:v>
                </c:pt>
                <c:pt idx="9">
                  <c:v>0.0012625412475544438</c:v>
                </c:pt>
                <c:pt idx="10">
                  <c:v>0.0001511584482259124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3220514636903894</c:v>
                </c:pt>
                <c:pt idx="1">
                  <c:v>0.01244103752887199</c:v>
                </c:pt>
                <c:pt idx="2">
                  <c:v>0.0876245748015091</c:v>
                </c:pt>
                <c:pt idx="3">
                  <c:v>0.030282854374379737</c:v>
                </c:pt>
                <c:pt idx="4">
                  <c:v>0.14027776593737545</c:v>
                </c:pt>
                <c:pt idx="5">
                  <c:v>0.28950622024873895</c:v>
                </c:pt>
                <c:pt idx="6">
                  <c:v>0.21798642705429877</c:v>
                </c:pt>
                <c:pt idx="7">
                  <c:v>0.05658159874439702</c:v>
                </c:pt>
                <c:pt idx="8">
                  <c:v>0.09882715982471645</c:v>
                </c:pt>
                <c:pt idx="9">
                  <c:v>0.013251846848808615</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15115844822591247</c:v>
                </c:pt>
                <c:pt idx="1">
                  <c:v>0.0012625412475544438</c:v>
                </c:pt>
                <c:pt idx="2">
                  <c:v>0.00679273624153866</c:v>
                </c:pt>
                <c:pt idx="3">
                  <c:v>0.008278392075711362</c:v>
                </c:pt>
                <c:pt idx="4">
                  <c:v>0.0037208927261637654</c:v>
                </c:pt>
                <c:pt idx="5">
                  <c:v>0.0037133906303849374</c:v>
                </c:pt>
                <c:pt idx="6">
                  <c:v>0.0001678286570401371</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7.405405396720762e-07</c:v>
                </c:pt>
                <c:pt idx="3">
                  <c:v>0.08206079859622176</c:v>
                </c:pt>
                <c:pt idx="4">
                  <c:v>0.013735802625934962</c:v>
                </c:pt>
                <c:pt idx="5">
                  <c:v>0.06158870680921726</c:v>
                </c:pt>
                <c:pt idx="6">
                  <c:v>0.02319507043178579</c:v>
                </c:pt>
                <c:pt idx="7">
                  <c:v>0.05900056563816069</c:v>
                </c:pt>
                <c:pt idx="8">
                  <c:v>0.024630784631086092</c:v>
                </c:pt>
                <c:pt idx="9">
                  <c:v>3.31710453206729e-05</c:v>
                </c:pt>
                <c:pt idx="10">
                  <c:v>5.6986533599004805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7153555707729703e-08</c:v>
                </c:pt>
                <c:pt idx="1">
                  <c:v/>
                </c:pt>
                <c:pt idx="2">
                  <c:v>8.598219798499514e-08</c:v>
                </c:pt>
                <c:pt idx="3">
                  <c:v>0.00952786168172719</c:v>
                </c:pt>
                <c:pt idx="4">
                  <c:v>0.001594827612528732</c:v>
                </c:pt>
                <c:pt idx="5">
                  <c:v>0.007150901400826601</c:v>
                </c:pt>
                <c:pt idx="6">
                  <c:v>0.0026931181094080954</c:v>
                </c:pt>
                <c:pt idx="7">
                  <c:v>0.006850399193774648</c:v>
                </c:pt>
                <c:pt idx="8">
                  <c:v>0.0028598150772591348</c:v>
                </c:pt>
                <c:pt idx="9">
                  <c:v>3.851402095278012e-06</c:v>
                </c:pt>
                <c:pt idx="10">
                  <c:v>6.61655527536404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5956247769890692e-06</c:v>
                </c:pt>
                <c:pt idx="1">
                  <c:v>6.084475673463985e-07</c:v>
                </c:pt>
                <c:pt idx="2">
                  <c:v>4.218987977290594e-06</c:v>
                </c:pt>
                <c:pt idx="3">
                  <c:v>0.01597904123193365</c:v>
                </c:pt>
                <c:pt idx="4">
                  <c:v>0.003917576852268922</c:v>
                </c:pt>
                <c:pt idx="5">
                  <c:v>0.005462274682033424</c:v>
                </c:pt>
                <c:pt idx="6">
                  <c:v>0.0027437736051859835</c:v>
                </c:pt>
                <c:pt idx="7">
                  <c:v>0.0063472823685013615</c:v>
                </c:pt>
                <c:pt idx="8">
                  <c:v>0.001974670789438802</c:v>
                </c:pt>
                <c:pt idx="9">
                  <c:v>0.0017712159591666999</c:v>
                </c:pt>
                <c:pt idx="10">
                  <c:v>2.028074922416882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3220514636903894</c:v>
                </c:pt>
                <c:pt idx="1">
                  <c:v>0.01244103752887199</c:v>
                </c:pt>
                <c:pt idx="2">
                  <c:v>0.0876245748015091</c:v>
                </c:pt>
                <c:pt idx="3">
                  <c:v>0.030282854374379737</c:v>
                </c:pt>
                <c:pt idx="4">
                  <c:v>0.14027776593737545</c:v>
                </c:pt>
                <c:pt idx="5">
                  <c:v>0.28950622024873895</c:v>
                </c:pt>
                <c:pt idx="6">
                  <c:v>0.21798642705429877</c:v>
                </c:pt>
                <c:pt idx="7">
                  <c:v>0.05658159874439702</c:v>
                </c:pt>
                <c:pt idx="8">
                  <c:v>0.09882715982471645</c:v>
                </c:pt>
                <c:pt idx="9">
                  <c:v>0.013251846848808615</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28074922416882e-05</c:v>
                </c:pt>
                <c:pt idx="1">
                  <c:v>0.0017712159591666999</c:v>
                </c:pt>
                <c:pt idx="2">
                  <c:v>0.0063472823685013615</c:v>
                </c:pt>
                <c:pt idx="3">
                  <c:v>0.001974670789438802</c:v>
                </c:pt>
                <c:pt idx="4">
                  <c:v>0.0027437736051859835</c:v>
                </c:pt>
                <c:pt idx="5">
                  <c:v>0.005462274682033424</c:v>
                </c:pt>
                <c:pt idx="6">
                  <c:v>0.003917576852268922</c:v>
                </c:pt>
                <c:pt idx="7">
                  <c:v>0.01597904123193365</c:v>
                </c:pt>
                <c:pt idx="8">
                  <c:v>6.084475673463985e-07</c:v>
                </c:pt>
                <c:pt idx="9">
                  <c:v>4.218987977290594e-06</c:v>
                </c:pt>
                <c:pt idx="10">
                  <c:v>2.5956247769890692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8797801642155172</c:v>
                </c:pt>
                <c:pt idx="1">
                  <c:v>0.015499323616429533</c:v>
                </c:pt>
                <c:pt idx="2">
                  <c:v>0.020328229017232035</c:v>
                </c:pt>
                <c:pt idx="3">
                  <c:v>0.04426378969025742</c:v>
                </c:pt>
                <c:pt idx="4">
                  <c:v>0.06509450789254996</c:v>
                </c:pt>
                <c:pt idx="5">
                  <c:v>0.10204826864942468</c:v>
                </c:pt>
                <c:pt idx="6">
                  <c:v>0.12638325694294628</c:v>
                </c:pt>
                <c:pt idx="7">
                  <c:v>0.1760557863873334</c:v>
                </c:pt>
                <c:pt idx="8">
                  <c:v>0.25472703021903487</c:v>
                </c:pt>
                <c:pt idx="9">
                  <c:v>0.09896421392959569</c:v>
                </c:pt>
                <c:pt idx="10">
                  <c:v>0.0778377920130409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4325718494863588</c:v>
                </c:pt>
                <c:pt idx="3">
                  <c:v>0.0010390500489843798</c:v>
                </c:pt>
                <c:pt idx="4">
                  <c:v>0.0007116564270688653</c:v>
                </c:pt>
                <c:pt idx="5">
                  <c:v>0.0028464754002435724</c:v>
                </c:pt>
                <c:pt idx="6">
                  <c:v>0.002175401498526393</c:v>
                </c:pt>
                <c:pt idx="7">
                  <c:v>0.006230260631537109</c:v>
                </c:pt>
                <c:pt idx="8">
                  <c:v>0.0073358842734815265</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5.896296013459944e-08</c:v>
                </c:pt>
                <c:pt idx="1">
                  <c:v>1.6697808497691885e-06</c:v>
                </c:pt>
                <c:pt idx="2">
                  <c:v>0.003678135798348714</c:v>
                </c:pt>
                <c:pt idx="3">
                  <c:v>0.004264468492051437</c:v>
                </c:pt>
                <c:pt idx="4">
                  <c:v>0.0007576376563286687</c:v>
                </c:pt>
                <c:pt idx="5">
                  <c:v>0.0030338525510822125</c:v>
                </c:pt>
                <c:pt idx="6">
                  <c:v>0.0026946235870550614</c:v>
                </c:pt>
                <c:pt idx="7">
                  <c:v>0.007365777178589765</c:v>
                </c:pt>
                <c:pt idx="8">
                  <c:v>0.006827600914413142</c:v>
                </c:pt>
                <c:pt idx="9">
                  <c:v>4.139952520088897e-08</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3220514636903894</c:v>
                </c:pt>
                <c:pt idx="1">
                  <c:v>0.01244103752887199</c:v>
                </c:pt>
                <c:pt idx="2">
                  <c:v>0.0876245748015091</c:v>
                </c:pt>
                <c:pt idx="3">
                  <c:v>0.030282854374379737</c:v>
                </c:pt>
                <c:pt idx="4">
                  <c:v>0.14027776593737545</c:v>
                </c:pt>
                <c:pt idx="5">
                  <c:v>0.28950622024873895</c:v>
                </c:pt>
                <c:pt idx="6">
                  <c:v>0.21798642705429877</c:v>
                </c:pt>
                <c:pt idx="7">
                  <c:v>0.05658159874439702</c:v>
                </c:pt>
                <c:pt idx="8">
                  <c:v>0.09882715982471645</c:v>
                </c:pt>
                <c:pt idx="9">
                  <c:v>0.013251846848808615</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4.139952520088897e-08</c:v>
                </c:pt>
                <c:pt idx="2">
                  <c:v>0.007365777178589765</c:v>
                </c:pt>
                <c:pt idx="3">
                  <c:v>0.006827600914413142</c:v>
                </c:pt>
                <c:pt idx="4">
                  <c:v>0.0026946235870550614</c:v>
                </c:pt>
                <c:pt idx="5">
                  <c:v>0.0030338525510822125</c:v>
                </c:pt>
                <c:pt idx="6">
                  <c:v>0.0007576376563286687</c:v>
                </c:pt>
                <c:pt idx="7">
                  <c:v>0.004264468492051437</c:v>
                </c:pt>
                <c:pt idx="8">
                  <c:v>1.6697808497691885e-06</c:v>
                </c:pt>
                <c:pt idx="9">
                  <c:v>0.003678135798348714</c:v>
                </c:pt>
                <c:pt idx="10">
                  <c:v>5.896296013459944e-0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7885755233114146</c:v>
                </c:pt>
                <c:pt idx="1">
                  <c:v>0.015469715292761314</c:v>
                </c:pt>
                <c:pt idx="2">
                  <c:v>0.020244464130741713</c:v>
                </c:pt>
                <c:pt idx="3">
                  <c:v>0.03755400655497744</c:v>
                </c:pt>
                <c:pt idx="4">
                  <c:v>0.04905687782348385</c:v>
                </c:pt>
                <c:pt idx="5">
                  <c:v>0.09755510829355343</c:v>
                </c:pt>
                <c:pt idx="6">
                  <c:v>0.12446288378971009</c:v>
                </c:pt>
                <c:pt idx="7">
                  <c:v>0.16930744291650024</c:v>
                </c:pt>
                <c:pt idx="8">
                  <c:v>0.24406203938843374</c:v>
                </c:pt>
                <c:pt idx="9">
                  <c:v>0.09848894572208777</c:v>
                </c:pt>
                <c:pt idx="10">
                  <c:v>0.077834604239132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8579973521078677e-05</c:v>
                </c:pt>
                <c:pt idx="5">
                  <c:v>0.0012986296548917224</c:v>
                </c:pt>
                <c:pt idx="6">
                  <c:v>0.0017245883591360195</c:v>
                </c:pt>
                <c:pt idx="7">
                  <c:v>0.003579290228227471</c:v>
                </c:pt>
                <c:pt idx="8">
                  <c:v>0.010563633147490141</c:v>
                </c:pt>
                <c:pt idx="9">
                  <c:v>0.00109182404007378</c:v>
                </c:pt>
                <c:pt idx="10">
                  <c:v>0.000120641789370873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076316828532641e-05</c:v>
                </c:pt>
                <c:pt idx="5">
                  <c:v>0.0031341210426330847</c:v>
                </c:pt>
                <c:pt idx="6">
                  <c:v>0.0029971364998719755</c:v>
                </c:pt>
                <c:pt idx="7">
                  <c:v>0.002931891519450244</c:v>
                </c:pt>
                <c:pt idx="8">
                  <c:v>0.016367929204173116</c:v>
                </c:pt>
                <c:pt idx="9">
                  <c:v>0.0018839609848444547</c:v>
                </c:pt>
                <c:pt idx="10">
                  <c:v>0.0001384925241544137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13849252415441374</c:v>
                </c:pt>
                <c:pt idx="1">
                  <c:v>0.0018839609848444547</c:v>
                </c:pt>
                <c:pt idx="2">
                  <c:v>0.002931891519450244</c:v>
                </c:pt>
                <c:pt idx="3">
                  <c:v>0.016367929204173116</c:v>
                </c:pt>
                <c:pt idx="4">
                  <c:v>0.0029971364998719755</c:v>
                </c:pt>
                <c:pt idx="5">
                  <c:v>0.0031341210426330847</c:v>
                </c:pt>
                <c:pt idx="6">
                  <c:v>3.076316828532641e-05</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7885755233114146</c:v>
                </c:pt>
                <c:pt idx="1">
                  <c:v>0.015469715292761314</c:v>
                </c:pt>
                <c:pt idx="2">
                  <c:v>0.020244464130741713</c:v>
                </c:pt>
                <c:pt idx="3">
                  <c:v>0.03755400655497744</c:v>
                </c:pt>
                <c:pt idx="4">
                  <c:v>0.04905687782348385</c:v>
                </c:pt>
                <c:pt idx="5">
                  <c:v>0.09755510829355343</c:v>
                </c:pt>
                <c:pt idx="6">
                  <c:v>0.12446288378971009</c:v>
                </c:pt>
                <c:pt idx="7">
                  <c:v>0.16930744291650024</c:v>
                </c:pt>
                <c:pt idx="8">
                  <c:v>0.24406203938843374</c:v>
                </c:pt>
                <c:pt idx="9">
                  <c:v>0.09848894572208777</c:v>
                </c:pt>
                <c:pt idx="10">
                  <c:v>0.077834604239132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801992025599639e-08</c:v>
                </c:pt>
                <c:pt idx="1">
                  <c:v/>
                </c:pt>
                <c:pt idx="2">
                  <c:v>9.032485028318192e-08</c:v>
                </c:pt>
                <c:pt idx="3">
                  <c:v>0.01000907978731899</c:v>
                </c:pt>
                <c:pt idx="4">
                  <c:v>0.0016753766326639032</c:v>
                </c:pt>
                <c:pt idx="5">
                  <c:v>0.007512067771658688</c:v>
                </c:pt>
                <c:pt idx="6">
                  <c:v>0.0028291378416455807</c:v>
                </c:pt>
                <c:pt idx="7">
                  <c:v>0.0071963882763930506</c:v>
                </c:pt>
                <c:pt idx="8">
                  <c:v>0.0030042540751993346</c:v>
                </c:pt>
                <c:pt idx="9">
                  <c:v>4.04592259547759e-06</c:v>
                </c:pt>
                <c:pt idx="10">
                  <c:v>6.9507337407442084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5225233796730798</c:v>
                </c:pt>
                <c:pt idx="1">
                  <c:v/>
                </c:pt>
                <c:pt idx="2">
                  <c:v>0.00209474269316095</c:v>
                </c:pt>
                <c:pt idx="3">
                  <c:v>0.010539715045887483</c:v>
                </c:pt>
                <c:pt idx="4">
                  <c:v>0.006116471671888587</c:v>
                </c:pt>
                <c:pt idx="5">
                  <c:v>0.004638634252664015</c:v>
                </c:pt>
                <c:pt idx="6">
                  <c:v>0.0013922616492914946</c:v>
                </c:pt>
                <c:pt idx="7">
                  <c:v>0.012061574390215329</c:v>
                </c:pt>
                <c:pt idx="8">
                  <c:v>0.0018675453811650908</c:v>
                </c:pt>
                <c:pt idx="9">
                  <c:v>1.7567026611737253e-07</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1.7567026611737253e-07</c:v>
                </c:pt>
                <c:pt idx="2">
                  <c:v>0.012061574390215329</c:v>
                </c:pt>
                <c:pt idx="3">
                  <c:v>0.0018675453811650908</c:v>
                </c:pt>
                <c:pt idx="4">
                  <c:v>0.0013922616492914946</c:v>
                </c:pt>
                <c:pt idx="5">
                  <c:v>0.004638634252664015</c:v>
                </c:pt>
                <c:pt idx="6">
                  <c:v>0.006116471671888587</c:v>
                </c:pt>
                <c:pt idx="7">
                  <c:v>0.010539715045887483</c:v>
                </c:pt>
                <c:pt idx="8">
                  <c:v/>
                </c:pt>
                <c:pt idx="9">
                  <c:v>0.00209474269316095</c:v>
                </c:pt>
                <c:pt idx="10">
                  <c:v>0.000522523379673079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3303497370545168</c:v>
                </c:pt>
                <c:pt idx="1">
                  <c:v>0.0008015867303194407</c:v>
                </c:pt>
                <c:pt idx="2">
                  <c:v>0.0045273898474471165</c:v>
                </c:pt>
                <c:pt idx="3">
                  <c:v>0.010784718575471577</c:v>
                </c:pt>
                <c:pt idx="4">
                  <c:v>0.014700803084192849</c:v>
                </c:pt>
                <c:pt idx="5">
                  <c:v>0.01641737998813221</c:v>
                </c:pt>
                <c:pt idx="6">
                  <c:v>0.009669039733590734</c:v>
                </c:pt>
                <c:pt idx="7">
                  <c:v>0.030122600347923512</c:v>
                </c:pt>
                <c:pt idx="8">
                  <c:v>0.01947100751642738</c:v>
                </c:pt>
                <c:pt idx="9">
                  <c:v>0.0058997853733387005</c:v>
                </c:pt>
                <c:pt idx="10">
                  <c:v>0.0004095392127470295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7885755233114146</c:v>
                </c:pt>
                <c:pt idx="1">
                  <c:v>0.015469715292761314</c:v>
                </c:pt>
                <c:pt idx="2">
                  <c:v>0.020244464130741713</c:v>
                </c:pt>
                <c:pt idx="3">
                  <c:v>0.03755400655497744</c:v>
                </c:pt>
                <c:pt idx="4">
                  <c:v>0.04905687782348385</c:v>
                </c:pt>
                <c:pt idx="5">
                  <c:v>0.09755510829355343</c:v>
                </c:pt>
                <c:pt idx="6">
                  <c:v>0.12446288378971009</c:v>
                </c:pt>
                <c:pt idx="7">
                  <c:v>0.16930744291650024</c:v>
                </c:pt>
                <c:pt idx="8">
                  <c:v>0.24406203938843374</c:v>
                </c:pt>
                <c:pt idx="9">
                  <c:v>0.09848894572208777</c:v>
                </c:pt>
                <c:pt idx="10">
                  <c:v>0.077834604239132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4544195014460198</c:v>
                </c:pt>
                <c:pt idx="3">
                  <c:v>0.0010915287386305847</c:v>
                </c:pt>
                <c:pt idx="4">
                  <c:v>0.0007475996396286247</c:v>
                </c:pt>
                <c:pt idx="5">
                  <c:v>0.002990240658963256</c:v>
                </c:pt>
                <c:pt idx="6">
                  <c:v>0.002285273222423277</c:v>
                </c:pt>
                <c:pt idx="7">
                  <c:v>0.006544928740563221</c:v>
                </c:pt>
                <c:pt idx="8">
                  <c:v>0.007706393465454337</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9.900845770757736e-05</c:v>
                </c:pt>
                <c:pt idx="1">
                  <c:v>0.0022975844533108533</c:v>
                </c:pt>
                <c:pt idx="2">
                  <c:v>0.004096886284363259</c:v>
                </c:pt>
                <c:pt idx="3">
                  <c:v/>
                </c:pt>
                <c:pt idx="4">
                  <c:v>2.53956589661362e-05</c:v>
                </c:pt>
                <c:pt idx="5">
                  <c:v>0.00496373034286465</c:v>
                </c:pt>
                <c:pt idx="6">
                  <c:v>0.003812679622738398</c:v>
                </c:pt>
                <c:pt idx="7">
                  <c:v>0.0063940046027105525</c:v>
                </c:pt>
                <c:pt idx="8">
                  <c:v>0.008226332443793024</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63940046027105525</c:v>
                </c:pt>
                <c:pt idx="3">
                  <c:v>0.008226332443793024</c:v>
                </c:pt>
                <c:pt idx="4">
                  <c:v>0.003812679622738398</c:v>
                </c:pt>
                <c:pt idx="5">
                  <c:v>0.00496373034286465</c:v>
                </c:pt>
                <c:pt idx="6">
                  <c:v>2.53956589661362e-05</c:v>
                </c:pt>
                <c:pt idx="7">
                  <c:v/>
                </c:pt>
                <c:pt idx="8">
                  <c:v>0.0022975844533108533</c:v>
                </c:pt>
                <c:pt idx="9">
                  <c:v>0.004096886284363259</c:v>
                </c:pt>
                <c:pt idx="10">
                  <c:v>9.900845770757736e-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7.405405396720762e-07</c:v>
                </c:pt>
                <c:pt idx="3">
                  <c:v>0.08206079859622176</c:v>
                </c:pt>
                <c:pt idx="4">
                  <c:v>0.013735802625934962</c:v>
                </c:pt>
                <c:pt idx="5">
                  <c:v>0.06158870680921726</c:v>
                </c:pt>
                <c:pt idx="6">
                  <c:v>0.02319507043178579</c:v>
                </c:pt>
                <c:pt idx="7">
                  <c:v>0.05900056563816069</c:v>
                </c:pt>
                <c:pt idx="8">
                  <c:v>0.024630784631086092</c:v>
                </c:pt>
                <c:pt idx="9">
                  <c:v>3.31710453206729e-05</c:v>
                </c:pt>
                <c:pt idx="10">
                  <c:v>5.6986533599004805e-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7885755233114146</c:v>
                </c:pt>
                <c:pt idx="1">
                  <c:v>0.015469715292761314</c:v>
                </c:pt>
                <c:pt idx="2">
                  <c:v>0.020244464130741713</c:v>
                </c:pt>
                <c:pt idx="3">
                  <c:v>0.03755400655497744</c:v>
                </c:pt>
                <c:pt idx="4">
                  <c:v>0.04905687782348385</c:v>
                </c:pt>
                <c:pt idx="5">
                  <c:v>0.09755510829355343</c:v>
                </c:pt>
                <c:pt idx="6">
                  <c:v>0.12446288378971009</c:v>
                </c:pt>
                <c:pt idx="7">
                  <c:v>0.16930744291650024</c:v>
                </c:pt>
                <c:pt idx="8">
                  <c:v>0.24406203938843374</c:v>
                </c:pt>
                <c:pt idx="9">
                  <c:v>0.09848894572208777</c:v>
                </c:pt>
                <c:pt idx="10">
                  <c:v>0.077834604239132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3.8579973521078677e-05</c:v>
                </c:pt>
                <c:pt idx="5">
                  <c:v>0.0012986296548917224</c:v>
                </c:pt>
                <c:pt idx="6">
                  <c:v>0.0017245883591360195</c:v>
                </c:pt>
                <c:pt idx="7">
                  <c:v>0.003579290228227471</c:v>
                </c:pt>
                <c:pt idx="8">
                  <c:v>0.010563633147490141</c:v>
                </c:pt>
                <c:pt idx="9">
                  <c:v>0.00109182404007378</c:v>
                </c:pt>
                <c:pt idx="10">
                  <c:v>0.0001206417893708734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4.171911535281731e-05</c:v>
                </c:pt>
                <c:pt idx="5">
                  <c:v>0.0006502139779190402</c:v>
                </c:pt>
                <c:pt idx="6">
                  <c:v>0.0024618690465788855</c:v>
                </c:pt>
                <c:pt idx="7">
                  <c:v>0.007174550950070865</c:v>
                </c:pt>
                <c:pt idx="8">
                  <c:v>0.008591496943341055</c:v>
                </c:pt>
                <c:pt idx="9">
                  <c:v>0.001333507762564556</c:v>
                </c:pt>
                <c:pt idx="10">
                  <c:v>0.0001596549534337289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3220514636903894</c:v>
                </c:pt>
                <c:pt idx="1">
                  <c:v>0.01244103752887199</c:v>
                </c:pt>
                <c:pt idx="2">
                  <c:v>0.0876245748015091</c:v>
                </c:pt>
                <c:pt idx="3">
                  <c:v>0.030282854374379737</c:v>
                </c:pt>
                <c:pt idx="4">
                  <c:v>0.14027776593737545</c:v>
                </c:pt>
                <c:pt idx="5">
                  <c:v>0.28950622024873895</c:v>
                </c:pt>
                <c:pt idx="6">
                  <c:v>0.21798642705429877</c:v>
                </c:pt>
                <c:pt idx="7">
                  <c:v>0.05658159874439702</c:v>
                </c:pt>
                <c:pt idx="8">
                  <c:v>0.09882715982471645</c:v>
                </c:pt>
                <c:pt idx="9">
                  <c:v>0.013251846848808615</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15965495343372898</c:v>
                </c:pt>
                <c:pt idx="1">
                  <c:v>0.001333507762564556</c:v>
                </c:pt>
                <c:pt idx="2">
                  <c:v>0.007174550950070865</c:v>
                </c:pt>
                <c:pt idx="3">
                  <c:v>0.008591496943341055</c:v>
                </c:pt>
                <c:pt idx="4">
                  <c:v>0.0024618690465788855</c:v>
                </c:pt>
                <c:pt idx="5">
                  <c:v>0.0006502139779190402</c:v>
                </c:pt>
                <c:pt idx="6">
                  <c:v>4.171911535281731e-05</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7885755233114146</c:v>
                </c:pt>
                <c:pt idx="1">
                  <c:v>0.015469715292761314</c:v>
                </c:pt>
                <c:pt idx="2">
                  <c:v>0.020244464130741713</c:v>
                </c:pt>
                <c:pt idx="3">
                  <c:v>0.03755400655497744</c:v>
                </c:pt>
                <c:pt idx="4">
                  <c:v>0.04905687782348385</c:v>
                </c:pt>
                <c:pt idx="5">
                  <c:v>0.09755510829355343</c:v>
                </c:pt>
                <c:pt idx="6">
                  <c:v>0.12446288378971009</c:v>
                </c:pt>
                <c:pt idx="7">
                  <c:v>0.16930744291650024</c:v>
                </c:pt>
                <c:pt idx="8">
                  <c:v>0.24406203938843374</c:v>
                </c:pt>
                <c:pt idx="9">
                  <c:v>0.09848894572208777</c:v>
                </c:pt>
                <c:pt idx="10">
                  <c:v>0.077834604239132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1.801992025599639e-08</c:v>
                </c:pt>
                <c:pt idx="1">
                  <c:v/>
                </c:pt>
                <c:pt idx="2">
                  <c:v>9.032485028318192e-08</c:v>
                </c:pt>
                <c:pt idx="3">
                  <c:v>0.01000907978731899</c:v>
                </c:pt>
                <c:pt idx="4">
                  <c:v>0.0016753766326639032</c:v>
                </c:pt>
                <c:pt idx="5">
                  <c:v>0.007512067771658688</c:v>
                </c:pt>
                <c:pt idx="6">
                  <c:v>0.0028291378416455807</c:v>
                </c:pt>
                <c:pt idx="7">
                  <c:v>0.0071963882763930506</c:v>
                </c:pt>
                <c:pt idx="8">
                  <c:v>0.0030042540751993346</c:v>
                </c:pt>
                <c:pt idx="9">
                  <c:v>4.04592259547759e-06</c:v>
                </c:pt>
                <c:pt idx="10">
                  <c:v>6.9507337407442084e-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0856614831110494e-05</c:v>
                </c:pt>
                <c:pt idx="1">
                  <c:v>5.0857004490138715e-06</c:v>
                </c:pt>
                <c:pt idx="2">
                  <c:v>3.5264351773265254e-05</c:v>
                </c:pt>
                <c:pt idx="3">
                  <c:v>0.13356059179014013</c:v>
                </c:pt>
                <c:pt idx="4">
                  <c:v>0.032745011116607166</c:v>
                </c:pt>
                <c:pt idx="5">
                  <c:v>0.045656346239016515</c:v>
                </c:pt>
                <c:pt idx="6">
                  <c:v>0.022933793156152984</c:v>
                </c:pt>
                <c:pt idx="7">
                  <c:v>0.05305367056078226</c:v>
                </c:pt>
                <c:pt idx="8">
                  <c:v>0.016505258068993306</c:v>
                </c:pt>
                <c:pt idx="9">
                  <c:v>0.014804683726685523</c:v>
                </c:pt>
                <c:pt idx="10">
                  <c:v>0.000169516357646924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7415229367946326e-06</c:v>
                </c:pt>
                <c:pt idx="1">
                  <c:v>6.426479576343146e-07</c:v>
                </c:pt>
                <c:pt idx="2">
                  <c:v>4.45613418870969e-06</c:v>
                </c:pt>
                <c:pt idx="3">
                  <c:v>0.01687721138806102</c:v>
                </c:pt>
                <c:pt idx="4">
                  <c:v>0.00413778096601834</c:v>
                </c:pt>
                <c:pt idx="5">
                  <c:v>0.005769305124771625</c:v>
                </c:pt>
                <c:pt idx="6">
                  <c:v>0.0028979991016709087</c:v>
                </c:pt>
                <c:pt idx="7">
                  <c:v>0.006704058442431768</c:v>
                </c:pt>
                <c:pt idx="8">
                  <c:v>0.0020856655822744283</c:v>
                </c:pt>
                <c:pt idx="9">
                  <c:v>0.0018707747056201961</c:v>
                </c:pt>
                <c:pt idx="10">
                  <c:v>2.1420715222920265e-0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3220514636903894</c:v>
                </c:pt>
                <c:pt idx="1">
                  <c:v>0.01244103752887199</c:v>
                </c:pt>
                <c:pt idx="2">
                  <c:v>0.0876245748015091</c:v>
                </c:pt>
                <c:pt idx="3">
                  <c:v>0.030282854374379737</c:v>
                </c:pt>
                <c:pt idx="4">
                  <c:v>0.14027776593737545</c:v>
                </c:pt>
                <c:pt idx="5">
                  <c:v>0.28950622024873895</c:v>
                </c:pt>
                <c:pt idx="6">
                  <c:v>0.21798642705429877</c:v>
                </c:pt>
                <c:pt idx="7">
                  <c:v>0.05658159874439702</c:v>
                </c:pt>
                <c:pt idx="8">
                  <c:v>0.09882715982471645</c:v>
                </c:pt>
                <c:pt idx="9">
                  <c:v>0.013251846848808615</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2.1420715222920265e-05</c:v>
                </c:pt>
                <c:pt idx="1">
                  <c:v>0.0018707747056201961</c:v>
                </c:pt>
                <c:pt idx="2">
                  <c:v>0.006704058442431768</c:v>
                </c:pt>
                <c:pt idx="3">
                  <c:v>0.0020856655822744283</c:v>
                </c:pt>
                <c:pt idx="4">
                  <c:v>0.0028979991016709087</c:v>
                </c:pt>
                <c:pt idx="5">
                  <c:v>0.005769305124771625</c:v>
                </c:pt>
                <c:pt idx="6">
                  <c:v>0.00413778096601834</c:v>
                </c:pt>
                <c:pt idx="7">
                  <c:v>0.01687721138806102</c:v>
                </c:pt>
                <c:pt idx="8">
                  <c:v>6.426479576343146e-07</c:v>
                </c:pt>
                <c:pt idx="9">
                  <c:v>4.45613418870969e-06</c:v>
                </c:pt>
                <c:pt idx="10">
                  <c:v>2.7415229367946326e-0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17885755233114146</c:v>
                </c:pt>
                <c:pt idx="1">
                  <c:v>0.015469715292761314</c:v>
                </c:pt>
                <c:pt idx="2">
                  <c:v>0.020244464130741713</c:v>
                </c:pt>
                <c:pt idx="3">
                  <c:v>0.03755400655497744</c:v>
                </c:pt>
                <c:pt idx="4">
                  <c:v>0.04905687782348385</c:v>
                </c:pt>
                <c:pt idx="5">
                  <c:v>0.09755510829355343</c:v>
                </c:pt>
                <c:pt idx="6">
                  <c:v>0.12446288378971009</c:v>
                </c:pt>
                <c:pt idx="7">
                  <c:v>0.16930744291650024</c:v>
                </c:pt>
                <c:pt idx="8">
                  <c:v>0.24406203938843374</c:v>
                </c:pt>
                <c:pt idx="9">
                  <c:v>0.09848894572208777</c:v>
                </c:pt>
                <c:pt idx="10">
                  <c:v>0.0778346042391321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3220514636903894</c:v>
                </c:pt>
                <c:pt idx="1">
                  <c:v>0.01244103752887199</c:v>
                </c:pt>
                <c:pt idx="2">
                  <c:v>0.0876245748015091</c:v>
                </c:pt>
                <c:pt idx="3">
                  <c:v>0.030282854374379737</c:v>
                </c:pt>
                <c:pt idx="4">
                  <c:v>0.14027776593737545</c:v>
                </c:pt>
                <c:pt idx="5">
                  <c:v>0.28950622024873895</c:v>
                </c:pt>
                <c:pt idx="6">
                  <c:v>0.21798642705429877</c:v>
                </c:pt>
                <c:pt idx="7">
                  <c:v>0.05658159874439702</c:v>
                </c:pt>
                <c:pt idx="8">
                  <c:v>0.09882715982471645</c:v>
                </c:pt>
                <c:pt idx="9">
                  <c:v>0.013251846848808615</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4544195014460198</c:v>
                </c:pt>
                <c:pt idx="3">
                  <c:v>0.0010915287386305847</c:v>
                </c:pt>
                <c:pt idx="4">
                  <c:v>0.0007475996396286247</c:v>
                </c:pt>
                <c:pt idx="5">
                  <c:v>0.002990240658963256</c:v>
                </c:pt>
                <c:pt idx="6">
                  <c:v>0.002285273222423277</c:v>
                </c:pt>
                <c:pt idx="7">
                  <c:v>0.006544928740563221</c:v>
                </c:pt>
                <c:pt idx="8">
                  <c:v>0.007706393465454337</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6.227722476043873e-08</c:v>
                </c:pt>
                <c:pt idx="1">
                  <c:v>1.7636380033222116e-06</c:v>
                </c:pt>
                <c:pt idx="2">
                  <c:v>0.00388488110655021</c:v>
                </c:pt>
                <c:pt idx="3">
                  <c:v>0.004504171129757354</c:v>
                </c:pt>
                <c:pt idx="4">
                  <c:v>0.0008002239117989131</c:v>
                </c:pt>
                <c:pt idx="5">
                  <c:v>0.003204383171782237</c:v>
                </c:pt>
                <c:pt idx="6">
                  <c:v>0.002846086397167409</c:v>
                </c:pt>
                <c:pt idx="7">
                  <c:v>0.007779802096760204</c:v>
                </c:pt>
                <c:pt idx="8">
                  <c:v>0.007211375340566979</c:v>
                </c:pt>
                <c:pt idx="9">
                  <c:v>4.372656206583996e-08</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3220514636903894</c:v>
                </c:pt>
                <c:pt idx="1">
                  <c:v>0.01244103752887199</c:v>
                </c:pt>
                <c:pt idx="2">
                  <c:v>0.0876245748015091</c:v>
                </c:pt>
                <c:pt idx="3">
                  <c:v>0.030282854374379737</c:v>
                </c:pt>
                <c:pt idx="4">
                  <c:v>0.14027776593737545</c:v>
                </c:pt>
                <c:pt idx="5">
                  <c:v>0.28950622024873895</c:v>
                </c:pt>
                <c:pt idx="6">
                  <c:v>0.21798642705429877</c:v>
                </c:pt>
                <c:pt idx="7">
                  <c:v>0.05658159874439702</c:v>
                </c:pt>
                <c:pt idx="8">
                  <c:v>0.09882715982471645</c:v>
                </c:pt>
                <c:pt idx="9">
                  <c:v>0.013251846848808615</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4.372656206583996e-08</c:v>
                </c:pt>
                <c:pt idx="2">
                  <c:v>0.007779802096760204</c:v>
                </c:pt>
                <c:pt idx="3">
                  <c:v>0.007211375340566979</c:v>
                </c:pt>
                <c:pt idx="4">
                  <c:v>0.002846086397167409</c:v>
                </c:pt>
                <c:pt idx="5">
                  <c:v>0.003204383171782237</c:v>
                </c:pt>
                <c:pt idx="6">
                  <c:v>0.0008002239117989131</c:v>
                </c:pt>
                <c:pt idx="7">
                  <c:v>0.004504171129757354</c:v>
                </c:pt>
                <c:pt idx="8">
                  <c:v>1.7636380033222116e-06</c:v>
                </c:pt>
                <c:pt idx="9">
                  <c:v>0.00388488110655021</c:v>
                </c:pt>
                <c:pt idx="10">
                  <c:v>6.227722476043873e-0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1695163576469242</c:v>
                </c:pt>
                <c:pt idx="1">
                  <c:v>0.014804683726685523</c:v>
                </c:pt>
                <c:pt idx="2">
                  <c:v>0.05305367056078226</c:v>
                </c:pt>
                <c:pt idx="3">
                  <c:v>0.016505258068993306</c:v>
                </c:pt>
                <c:pt idx="4">
                  <c:v>0.022933793156152984</c:v>
                </c:pt>
                <c:pt idx="5">
                  <c:v>0.045656346239016515</c:v>
                </c:pt>
                <c:pt idx="6">
                  <c:v>0.032745011116607166</c:v>
                </c:pt>
                <c:pt idx="7">
                  <c:v>0.13356059179014013</c:v>
                </c:pt>
                <c:pt idx="8">
                  <c:v>5.0857004490138715e-06</c:v>
                </c:pt>
                <c:pt idx="9">
                  <c:v>3.5264351773265254e-05</c:v>
                </c:pt>
                <c:pt idx="10">
                  <c:v>2.0856614831110494e-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3303497370545168</c:v>
                </c:pt>
                <c:pt idx="1">
                  <c:v>0.0008015867303194407</c:v>
                </c:pt>
                <c:pt idx="2">
                  <c:v>0.0045273898474471165</c:v>
                </c:pt>
                <c:pt idx="3">
                  <c:v>0.010784718575471577</c:v>
                </c:pt>
                <c:pt idx="4">
                  <c:v>0.014700803084192849</c:v>
                </c:pt>
                <c:pt idx="5">
                  <c:v>0.01641737998813221</c:v>
                </c:pt>
                <c:pt idx="6">
                  <c:v>0.009669039733590734</c:v>
                </c:pt>
                <c:pt idx="7">
                  <c:v>0.030122600347923512</c:v>
                </c:pt>
                <c:pt idx="8">
                  <c:v>0.01947100751642738</c:v>
                </c:pt>
                <c:pt idx="9">
                  <c:v>0.0058997853733387005</c:v>
                </c:pt>
                <c:pt idx="10">
                  <c:v>0.0004095392127470295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3725619934971639</c:v>
                </c:pt>
                <c:pt idx="3">
                  <c:v>0.008949046454423844</c:v>
                </c:pt>
                <c:pt idx="4">
                  <c:v>0.006129297074432178</c:v>
                </c:pt>
                <c:pt idx="5">
                  <c:v>0.024515893736835173</c:v>
                </c:pt>
                <c:pt idx="6">
                  <c:v>0.015661540441294683</c:v>
                </c:pt>
                <c:pt idx="7">
                  <c:v>0.05133844013659845</c:v>
                </c:pt>
                <c:pt idx="8">
                  <c:v>0.057788673815089106</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39433076220715705</c:v>
                </c:pt>
                <c:pt idx="1">
                  <c:v/>
                </c:pt>
                <c:pt idx="2">
                  <c:v>0.015808316239147732</c:v>
                </c:pt>
                <c:pt idx="3">
                  <c:v>0.07953967284854058</c:v>
                </c:pt>
                <c:pt idx="4">
                  <c:v>0.04615894771834592</c:v>
                </c:pt>
                <c:pt idx="5">
                  <c:v>0.035006207408320195</c:v>
                </c:pt>
                <c:pt idx="6">
                  <c:v>0.010506928851688921</c:v>
                </c:pt>
                <c:pt idx="7">
                  <c:v>0.09102463177222263</c:v>
                </c:pt>
                <c:pt idx="8">
                  <c:v>0.014093734792729056</c:v>
                </c:pt>
                <c:pt idx="9">
                  <c:v>1.3257242188576946e-06</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928410744405195e-07</c:v>
                </c:pt>
                <c:pt idx="1">
                  <c:v>1.3956839788943221e-05</c:v>
                </c:pt>
                <c:pt idx="2">
                  <c:v>0.030743646429186058</c:v>
                </c:pt>
                <c:pt idx="3">
                  <c:v>0.03564450001734381</c:v>
                </c:pt>
                <c:pt idx="4">
                  <c:v>0.006332703713131765</c:v>
                </c:pt>
                <c:pt idx="5">
                  <c:v>0.02535841395269573</c:v>
                </c:pt>
                <c:pt idx="6">
                  <c:v>0.01714739853104838</c:v>
                </c:pt>
                <c:pt idx="7">
                  <c:v>0.054161420006419936</c:v>
                </c:pt>
                <c:pt idx="8">
                  <c:v>0.05324888805616224</c:v>
                </c:pt>
                <c:pt idx="9">
                  <c:v>3.460373501390881e-07</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3220514636903894</c:v>
                </c:pt>
                <c:pt idx="1">
                  <c:v>0.01244103752887199</c:v>
                </c:pt>
                <c:pt idx="2">
                  <c:v>0.0876245748015091</c:v>
                </c:pt>
                <c:pt idx="3">
                  <c:v>0.030282854374379737</c:v>
                </c:pt>
                <c:pt idx="4">
                  <c:v>0.14027776593737545</c:v>
                </c:pt>
                <c:pt idx="5">
                  <c:v>0.28950622024873895</c:v>
                </c:pt>
                <c:pt idx="6">
                  <c:v>0.21798642705429877</c:v>
                </c:pt>
                <c:pt idx="7">
                  <c:v>0.05658159874439702</c:v>
                </c:pt>
                <c:pt idx="8">
                  <c:v>0.09882715982471645</c:v>
                </c:pt>
                <c:pt idx="9">
                  <c:v>0.013251846848808615</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3.460373501390881e-07</c:v>
                </c:pt>
                <c:pt idx="2">
                  <c:v>0.054161420006419936</c:v>
                </c:pt>
                <c:pt idx="3">
                  <c:v>0.05324888805616224</c:v>
                </c:pt>
                <c:pt idx="4">
                  <c:v>0.01714739853104838</c:v>
                </c:pt>
                <c:pt idx="5">
                  <c:v>0.02535841395269573</c:v>
                </c:pt>
                <c:pt idx="6">
                  <c:v>0.006332703713131765</c:v>
                </c:pt>
                <c:pt idx="7">
                  <c:v>0.03564450001734381</c:v>
                </c:pt>
                <c:pt idx="8">
                  <c:v>1.3956839788943221e-05</c:v>
                </c:pt>
                <c:pt idx="9">
                  <c:v>0.030743646429186058</c:v>
                </c:pt>
                <c:pt idx="10">
                  <c:v>4.928410744405195e-0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09118759455811816</c:v>
                </c:pt>
                <c:pt idx="1">
                  <c:v>2.9602105504275498e-05</c:v>
                </c:pt>
                <c:pt idx="2">
                  <c:v>8.35766262164324e-05</c:v>
                </c:pt>
                <c:pt idx="3">
                  <c:v>0.016025301594159526</c:v>
                </c:pt>
                <c:pt idx="4">
                  <c:v>0.00670978313527998</c:v>
                </c:pt>
                <c:pt idx="5">
                  <c:v>0.004169774233407938</c:v>
                </c:pt>
                <c:pt idx="6">
                  <c:v>0.0011193709303274851</c:v>
                </c:pt>
                <c:pt idx="7">
                  <c:v>0.005785041594079108</c:v>
                </c:pt>
                <c:pt idx="8">
                  <c:v>0.009979770820330653</c:v>
                </c:pt>
                <c:pt idx="9">
                  <c:v>0.00033588398873250167</c:v>
                </c:pt>
                <c:pt idx="10">
                  <c:v>3.187773908835219e-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0.08437910048412846</c:v>
                </c:pt>
                <c:pt idx="6">
                  <c:v>0.002791801703843978</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4562087169658495</c:v>
                </c:pt>
                <c:pt idx="4">
                  <c:v>0.0009848533050039476</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0.09709188742891893</c:v>
                </c:pt>
                <c:pt idx="6">
                  <c:v>0.015033118172919368</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15033118172919368</c:v>
                </c:pt>
                <c:pt idx="5">
                  <c:v>0.09709188742891893</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1.3257242188576946e-06</c:v>
                </c:pt>
                <c:pt idx="2">
                  <c:v>0.09102463177222263</c:v>
                </c:pt>
                <c:pt idx="3">
                  <c:v>0.014093734792729056</c:v>
                </c:pt>
                <c:pt idx="4">
                  <c:v>0.010506928851688921</c:v>
                </c:pt>
                <c:pt idx="5">
                  <c:v>0.035006207408320195</c:v>
                </c:pt>
                <c:pt idx="6">
                  <c:v>0.04615894771834592</c:v>
                </c:pt>
                <c:pt idx="7">
                  <c:v>0.07953967284854058</c:v>
                </c:pt>
                <c:pt idx="8">
                  <c:v/>
                </c:pt>
                <c:pt idx="9">
                  <c:v>0.015808316239147732</c:v>
                </c:pt>
                <c:pt idx="10">
                  <c:v>0.00394330762207157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09118759455811816</c:v>
                </c:pt>
                <c:pt idx="1">
                  <c:v>2.9602105504275498e-05</c:v>
                </c:pt>
                <c:pt idx="2">
                  <c:v>8.35766262164324e-05</c:v>
                </c:pt>
                <c:pt idx="3">
                  <c:v>0.00670978313527998</c:v>
                </c:pt>
                <c:pt idx="4">
                  <c:v>0.016025301594159526</c:v>
                </c:pt>
                <c:pt idx="5">
                  <c:v>0.004169774233407938</c:v>
                </c:pt>
                <c:pt idx="6">
                  <c:v>0.0011193709303274851</c:v>
                </c:pt>
                <c:pt idx="7">
                  <c:v>0.005785041594079108</c:v>
                </c:pt>
                <c:pt idx="8">
                  <c:v>0.009979770820330653</c:v>
                </c:pt>
                <c:pt idx="9">
                  <c:v>0.00033588398873250167</c:v>
                </c:pt>
                <c:pt idx="10">
                  <c:v>3.187773908835219e-0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0.08437910048412846</c:v>
                </c:pt>
                <c:pt idx="6">
                  <c:v>0.002791801703843978</c:v>
                </c:pt>
                <c:pt idx="7">
                  <c:v/>
                </c:pt>
                <c:pt idx="8">
                  <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26462490913729043</c:v>
                </c:pt>
                <c:pt idx="5">
                  <c:v>0.06387838300374067</c:v>
                </c:pt>
                <c:pt idx="6">
                  <c:v>0.028663580958399385</c:v>
                </c:pt>
                <c:pt idx="7">
                  <c:v/>
                </c:pt>
                <c:pt idx="8">
                  <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53220514636903894</c:v>
                </c:pt>
                <c:pt idx="1">
                  <c:v>0.01244103752887199</c:v>
                </c:pt>
                <c:pt idx="2">
                  <c:v>0.0876245748015091</c:v>
                </c:pt>
                <c:pt idx="3">
                  <c:v>0.030282854374379737</c:v>
                </c:pt>
                <c:pt idx="4">
                  <c:v>0.14027776593737545</c:v>
                </c:pt>
                <c:pt idx="5">
                  <c:v>0.28950622024873895</c:v>
                </c:pt>
                <c:pt idx="6">
                  <c:v>0.21798642705429877</c:v>
                </c:pt>
                <c:pt idx="7">
                  <c:v>0.05658159874439702</c:v>
                </c:pt>
                <c:pt idx="8">
                  <c:v>0.09882715982471645</c:v>
                </c:pt>
                <c:pt idx="9">
                  <c:v>0.013251846848808615</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28663580958399385</c:v>
                </c:pt>
                <c:pt idx="5">
                  <c:v>0.06387838300374067</c:v>
                </c:pt>
                <c:pt idx="6">
                  <c:v>0.0026462490913729043</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1458028220179034</c:v>
                </c:pt>
                <c:pt idx="1">
                  <c:v>0.002824360392966828</c:v>
                </c:pt>
                <c:pt idx="2">
                  <c:v>0.0037830453902021554</c:v>
                </c:pt>
                <c:pt idx="3">
                  <c:v>0.013736536319930227</c:v>
                </c:pt>
                <c:pt idx="4">
                  <c:v>0.010287898640572477</c:v>
                </c:pt>
                <c:pt idx="5">
                  <c:v>0.015457709733540919</c:v>
                </c:pt>
                <c:pt idx="6">
                  <c:v>0.02399979194795353</c:v>
                </c:pt>
                <c:pt idx="7">
                  <c:v>0.047508936239190495</c:v>
                </c:pt>
                <c:pt idx="8">
                  <c:v>0.04131920195511013</c:v>
                </c:pt>
                <c:pt idx="9">
                  <c:v>0.011560691616408235</c:v>
                </c:pt>
                <c:pt idx="10">
                  <c:v>0.055227078281582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05618546593806815</c:v>
                </c:pt>
                <c:pt idx="8">
                  <c:v>0.010642447438020322</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4562087169658495</c:v>
                </c:pt>
                <c:pt idx="4">
                  <c:v>0.0009848533050039476</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0.0006774110162039201</c:v>
                </c:pt>
                <c:pt idx="7">
                  <c:v>0.0011066114815078863</c:v>
                </c:pt>
                <c:pt idx="8">
                  <c:v>0.012830687066825287</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
                </c:pt>
                <c:pt idx="8">
                  <c:v/>
                </c:pt>
                <c:pt idx="9">
                  <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4.49 €</c:v>
                </c:pt>
                <c:pt idx="4">
                  <c:v>4.5-4.9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0.0011066114815078863</c:v>
                </c:pt>
                <c:pt idx="3">
                  <c:v>0.012830687066825287</c:v>
                </c:pt>
                <c:pt idx="4">
                  <c:v>0.0006774110162039201</c:v>
                </c:pt>
                <c:pt idx="5">
                  <c:v/>
                </c:pt>
                <c:pt idx="6">
                  <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0.001458028220179034</c:v>
                </c:pt>
                <c:pt idx="1">
                  <c:v>0.002824360392966828</c:v>
                </c:pt>
                <c:pt idx="2">
                  <c:v>0.0037830453902021554</c:v>
                </c:pt>
                <c:pt idx="3">
                  <c:v>0.010287898640572477</c:v>
                </c:pt>
                <c:pt idx="4">
                  <c:v>0.013736536319930227</c:v>
                </c:pt>
                <c:pt idx="5">
                  <c:v>0.02399979194795353</c:v>
                </c:pt>
                <c:pt idx="6">
                  <c:v>0.015457709733540919</c:v>
                </c:pt>
                <c:pt idx="7">
                  <c:v>0.047508936239190495</c:v>
                </c:pt>
                <c:pt idx="8">
                  <c:v>0.04131920195511013</c:v>
                </c:pt>
                <c:pt idx="9">
                  <c:v>0.011560691616408235</c:v>
                </c:pt>
                <c:pt idx="10">
                  <c:v>0.0552270782815825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
                </c:pt>
                <c:pt idx="5">
                  <c:v/>
                </c:pt>
                <c:pt idx="6">
                  <c:v/>
                </c:pt>
                <c:pt idx="7">
                  <c:v>0.0005618546593806815</c:v>
                </c:pt>
                <c:pt idx="8">
                  <c:v>0.010642447438020322</c:v>
                </c:pt>
                <c:pt idx="9">
                  <c:v/>
                </c:pt>
                <c:pt idx="10">
                  <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7089313658360362</c:v>
                </c:pt>
                <c:pt idx="6">
                  <c:v>0.009415266946315106</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2.0902637989208867e-07</c:v>
                </c:pt>
                <c:pt idx="5">
                  <c:v/>
                </c:pt>
                <c:pt idx="6">
                  <c:v/>
                </c:pt>
                <c:pt idx="7">
                  <c:v>0.0037298040148804625</c:v>
                </c:pt>
                <c:pt idx="8">
                  <c:v>0.012975505881202803</c:v>
                </c:pt>
                <c:pt idx="9">
                  <c:v/>
                </c:pt>
                <c:pt idx="10">
                  <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0.053220514636903894</c:v>
                </c:pt>
                <c:pt idx="1">
                  <c:v>0.01244103752887199</c:v>
                </c:pt>
                <c:pt idx="2">
                  <c:v>0.0876245748015091</c:v>
                </c:pt>
                <c:pt idx="3">
                  <c:v>0.030282854374379737</c:v>
                </c:pt>
                <c:pt idx="4">
                  <c:v>0.14027776593737545</c:v>
                </c:pt>
                <c:pt idx="5">
                  <c:v>0.21798642705429877</c:v>
                </c:pt>
                <c:pt idx="6">
                  <c:v>0.28950622024873895</c:v>
                </c:pt>
                <c:pt idx="7">
                  <c:v>0.05658159874439702</c:v>
                </c:pt>
                <c:pt idx="8">
                  <c:v>0.09882715982471645</c:v>
                </c:pt>
                <c:pt idx="9">
                  <c:v>0.013251846848808615</c:v>
                </c:pt>
                <c:pt idx="10">
                  <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3.49 €</c:v>
                </c:pt>
                <c:pt idx="6">
                  <c:v>3.5-3.99 €</c:v>
                </c:pt>
                <c:pt idx="7">
                  <c:v>2.5-2.99 €</c:v>
                </c:pt>
                <c:pt idx="8">
                  <c:v>2-2.49 €</c:v>
                </c:pt>
                <c:pt idx="9">
                  <c:v>1.5-1.99 €</c:v>
                </c:pt>
                <c:pt idx="10">
                  <c:v>0-1.49 €</c:v>
                </c:pt>
              </c:strCache>
            </c:strRef>
          </c:cat>
          <c:val>
            <c:numRef>
              <c:f>Sheet1!$B$2:$B$12</c:f>
              <c:numCache>
                <c:formatCode>General</c:formatCode>
                <c:ptCount val="11"/>
                <c:pt idx="0">
                  <c:v/>
                </c:pt>
                <c:pt idx="1">
                  <c:v/>
                </c:pt>
                <c:pt idx="2">
                  <c:v>0.0037298040148804625</c:v>
                </c:pt>
                <c:pt idx="3">
                  <c:v>0.012975505881202803</c:v>
                </c:pt>
                <c:pt idx="4">
                  <c:v/>
                </c:pt>
                <c:pt idx="5">
                  <c:v/>
                </c:pt>
                <c:pt idx="6">
                  <c:v>2.0902637989208867e-07</c:v>
                </c:pt>
                <c:pt idx="7">
                  <c:v/>
                </c:pt>
                <c:pt idx="8">
                  <c:v/>
                </c:pt>
                <c:pt idx="9">
                  <c:v/>
                </c:pt>
                <c:pt idx="10">
                  <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659E-4C05-9C18-39A3AFA4F643}"/>
              </c:ext>
            </c:extLst>
          </c:dPt>
          <c:dPt>
            <c:idx val="14"/>
            <c:invertIfNegative val="0"/>
            <c:bubble3D val="0"/>
            <c:extLst>
              <c:ext xmlns:c16="http://schemas.microsoft.com/office/drawing/2014/chart" uri="{C3380CC4-5D6E-409C-BE32-E72D297353CC}">
                <c16:uniqueId val="{00000001-659E-4C05-9C18-39A3AFA4F643}"/>
              </c:ext>
            </c:extLst>
          </c:dPt>
          <c:dPt>
            <c:idx val="15"/>
            <c:invertIfNegative val="0"/>
            <c:bubble3D val="0"/>
            <c:extLst>
              <c:ext xmlns:c16="http://schemas.microsoft.com/office/drawing/2014/chart" uri="{C3380CC4-5D6E-409C-BE32-E72D297353CC}">
                <c16:uniqueId val="{00000002-659E-4C05-9C18-39A3AFA4F64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659E-4C05-9C18-39A3AFA4F64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328-4187-AB24-4BEBE98A4BBB}"/>
              </c:ext>
            </c:extLst>
          </c:dPt>
          <c:dPt>
            <c:idx val="14"/>
            <c:invertIfNegative val="0"/>
            <c:bubble3D val="0"/>
            <c:extLst>
              <c:ext xmlns:c16="http://schemas.microsoft.com/office/drawing/2014/chart" uri="{C3380CC4-5D6E-409C-BE32-E72D297353CC}">
                <c16:uniqueId val="{00000001-D328-4187-AB24-4BEBE98A4BBB}"/>
              </c:ext>
            </c:extLst>
          </c:dPt>
          <c:dPt>
            <c:idx val="15"/>
            <c:invertIfNegative val="0"/>
            <c:bubble3D val="0"/>
            <c:extLst>
              <c:ext xmlns:c16="http://schemas.microsoft.com/office/drawing/2014/chart" uri="{C3380CC4-5D6E-409C-BE32-E72D297353CC}">
                <c16:uniqueId val="{00000002-D328-4187-AB24-4BEBE98A4BB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D328-4187-AB24-4BEBE98A4BB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6F1-4B8B-B96D-90CE5DF7787B}"/>
              </c:ext>
            </c:extLst>
          </c:dPt>
          <c:dPt>
            <c:idx val="14"/>
            <c:invertIfNegative val="0"/>
            <c:bubble3D val="0"/>
            <c:extLst>
              <c:ext xmlns:c16="http://schemas.microsoft.com/office/drawing/2014/chart" uri="{C3380CC4-5D6E-409C-BE32-E72D297353CC}">
                <c16:uniqueId val="{00000001-86F1-4B8B-B96D-90CE5DF7787B}"/>
              </c:ext>
            </c:extLst>
          </c:dPt>
          <c:dPt>
            <c:idx val="15"/>
            <c:invertIfNegative val="0"/>
            <c:bubble3D val="0"/>
            <c:extLst>
              <c:ext xmlns:c16="http://schemas.microsoft.com/office/drawing/2014/chart" uri="{C3380CC4-5D6E-409C-BE32-E72D297353CC}">
                <c16:uniqueId val="{00000002-86F1-4B8B-B96D-90CE5DF7787B}"/>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86F1-4B8B-B96D-90CE5DF7787B}"/>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4.660921273015046e-05</c:v>
                </c:pt>
                <c:pt idx="1">
                  <c:v>0.0021167271179697643</c:v>
                </c:pt>
                <c:pt idx="2">
                  <c:v>0.00033213293493811386</c:v>
                </c:pt>
                <c:pt idx="3">
                  <c:v>0.007866591272100692</c:v>
                </c:pt>
                <c:pt idx="4">
                  <c:v>0.00306945275553278</c:v>
                </c:pt>
                <c:pt idx="5">
                  <c:v>0.007875995923436902</c:v>
                </c:pt>
                <c:pt idx="6">
                  <c:v>0.021394408701084867</c:v>
                </c:pt>
                <c:pt idx="7">
                  <c:v>0.01895965680448826</c:v>
                </c:pt>
                <c:pt idx="8">
                  <c:v>0.044857697249526145</c:v>
                </c:pt>
                <c:pt idx="9">
                  <c:v>0.020567878127733034</c:v>
                </c:pt>
                <c:pt idx="10">
                  <c:v>0.0162305938479335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
                </c:pt>
                <c:pt idx="1">
                  <c:v/>
                </c:pt>
                <c:pt idx="2">
                  <c:v/>
                </c:pt>
                <c:pt idx="3">
                  <c:v/>
                </c:pt>
                <c:pt idx="4">
                  <c:v>0.0002562496345558577</c:v>
                </c:pt>
                <c:pt idx="5">
                  <c:v>0.008625546990269144</c:v>
                </c:pt>
                <c:pt idx="6">
                  <c:v>0.01145478071794009</c:v>
                </c:pt>
                <c:pt idx="7">
                  <c:v>0.022883222378001097</c:v>
                </c:pt>
                <c:pt idx="8">
                  <c:v>0.05329542368167689</c:v>
                </c:pt>
                <c:pt idx="9">
                  <c:v>0.007251936321712222</c:v>
                </c:pt>
                <c:pt idx="10">
                  <c:v>0.000801307300575532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6+ €</c:v>
                </c:pt>
                <c:pt idx="1">
                  <c:v>5.5-5.99 €</c:v>
                </c:pt>
                <c:pt idx="2">
                  <c:v>5-5.49 €</c:v>
                </c:pt>
                <c:pt idx="3">
                  <c:v>4.5-4.99 €</c:v>
                </c:pt>
                <c:pt idx="4">
                  <c:v>4-4.49 €</c:v>
                </c:pt>
                <c:pt idx="5">
                  <c:v>3.5-3.99 €</c:v>
                </c:pt>
                <c:pt idx="6">
                  <c:v>3-3.49 €</c:v>
                </c:pt>
                <c:pt idx="7">
                  <c:v>2.5-2.99 €</c:v>
                </c:pt>
                <c:pt idx="8">
                  <c:v>2-2.49 €</c:v>
                </c:pt>
                <c:pt idx="9">
                  <c:v>1.5-1.99 €</c:v>
                </c:pt>
                <c:pt idx="10">
                  <c:v>0-1.49 €</c:v>
                </c:pt>
              </c:strCache>
            </c:strRef>
          </c:cat>
          <c:val>
            <c:numRef>
              <c:f>Sheet1!$B$2:$B$12</c:f>
              <c:numCache>
                <c:formatCode>General</c:formatCode>
                <c:ptCount val="11"/>
                <c:pt idx="0">
                  <c:v>0.001730827586005566</c:v>
                </c:pt>
                <c:pt idx="1">
                  <c:v>0.0004046050869746881</c:v>
                </c:pt>
                <c:pt idx="2">
                  <c:v>0.0028497099720507916</c:v>
                </c:pt>
                <c:pt idx="3">
                  <c:v>0.0009848533050039476</c:v>
                </c:pt>
                <c:pt idx="4">
                  <c:v>0.004562087169658495</c:v>
                </c:pt>
                <c:pt idx="5">
                  <c:v>0.009415266946315106</c:v>
                </c:pt>
                <c:pt idx="6">
                  <c:v>0.007089313658360362</c:v>
                </c:pt>
                <c:pt idx="7">
                  <c:v>0.0018401361323776464</c:v>
                </c:pt>
                <c:pt idx="8">
                  <c:v>0.0032140383391292813</c:v>
                </c:pt>
                <c:pt idx="9">
                  <c:v>0.00043097407546552097</c:v>
                </c:pt>
                <c:pt idx="10">
                  <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A2E8B-B008-3F23-9F8F-0FABFBB8E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5B416E-5B12-D617-606D-D15DDF616CB7}"/>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D2C59B43-8AD6-5661-E865-6FA9B9A2C26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7ABA003-5186-376A-F005-63C2DF076A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183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 Id="rId17" Type="http://schemas.openxmlformats.org/officeDocument/2006/relationships/chart" Target="../charts/chart12.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9.xml"/><Relationship Id="rId7" Type="http://schemas.openxmlformats.org/officeDocument/2006/relationships/chart" Target="../charts/chart110.xml"/><Relationship Id="rId8" Type="http://schemas.openxmlformats.org/officeDocument/2006/relationships/chart" Target="../charts/chart111.xml"/><Relationship Id="rId9" Type="http://schemas.openxmlformats.org/officeDocument/2006/relationships/chart" Target="../charts/chart112.xml"/><Relationship Id="rId10" Type="http://schemas.openxmlformats.org/officeDocument/2006/relationships/chart" Target="../charts/chart113.xml"/><Relationship Id="rId11" Type="http://schemas.openxmlformats.org/officeDocument/2006/relationships/chart" Target="../charts/chart114.xml"/><Relationship Id="rId12" Type="http://schemas.openxmlformats.org/officeDocument/2006/relationships/chart" Target="../charts/chart115.xml"/><Relationship Id="rId13" Type="http://schemas.openxmlformats.org/officeDocument/2006/relationships/chart" Target="../charts/chart116.xml"/><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 Id="rId14" Type="http://schemas.openxmlformats.org/officeDocument/2006/relationships/chart" Target="../charts/chart129.xml"/><Relationship Id="rId15" Type="http://schemas.openxmlformats.org/officeDocument/2006/relationships/chart" Target="../charts/chart130.xml"/><Relationship Id="rId16" Type="http://schemas.openxmlformats.org/officeDocument/2006/relationships/chart" Target="../charts/chart131.xml"/><Relationship Id="rId17" Type="http://schemas.openxmlformats.org/officeDocument/2006/relationships/chart" Target="../charts/chart132.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 Id="rId17" Type="http://schemas.openxmlformats.org/officeDocument/2006/relationships/chart" Target="../charts/chart144.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 Id="rId14" Type="http://schemas.openxmlformats.org/officeDocument/2006/relationships/chart" Target="../charts/chart153.xml"/><Relationship Id="rId15" Type="http://schemas.openxmlformats.org/officeDocument/2006/relationships/chart" Target="../charts/chart154.xml"/><Relationship Id="rId16" Type="http://schemas.openxmlformats.org/officeDocument/2006/relationships/chart" Target="../charts/chart155.xml"/><Relationship Id="rId17" Type="http://schemas.openxmlformats.org/officeDocument/2006/relationships/chart" Target="../charts/chart156.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7.xml"/><Relationship Id="rId7" Type="http://schemas.openxmlformats.org/officeDocument/2006/relationships/chart" Target="../charts/chart158.xml"/><Relationship Id="rId8" Type="http://schemas.openxmlformats.org/officeDocument/2006/relationships/chart" Target="../charts/chart159.xml"/><Relationship Id="rId9" Type="http://schemas.openxmlformats.org/officeDocument/2006/relationships/chart" Target="../charts/chart160.xml"/><Relationship Id="rId10" Type="http://schemas.openxmlformats.org/officeDocument/2006/relationships/chart" Target="../charts/chart161.xml"/><Relationship Id="rId11" Type="http://schemas.openxmlformats.org/officeDocument/2006/relationships/chart" Target="../charts/chart162.xml"/><Relationship Id="rId12" Type="http://schemas.openxmlformats.org/officeDocument/2006/relationships/chart" Target="../charts/chart163.xml"/><Relationship Id="rId13" Type="http://schemas.openxmlformats.org/officeDocument/2006/relationships/chart" Target="../charts/chart164.xml"/><Relationship Id="rId14" Type="http://schemas.openxmlformats.org/officeDocument/2006/relationships/chart" Target="../charts/chart165.xml"/><Relationship Id="rId15" Type="http://schemas.openxmlformats.org/officeDocument/2006/relationships/chart" Target="../charts/chart166.xml"/><Relationship Id="rId16" Type="http://schemas.openxmlformats.org/officeDocument/2006/relationships/chart" Target="../charts/chart167.xml"/><Relationship Id="rId17" Type="http://schemas.openxmlformats.org/officeDocument/2006/relationships/chart" Target="../charts/chart168.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 Id="rId14" Type="http://schemas.openxmlformats.org/officeDocument/2006/relationships/chart" Target="../charts/chart177.xml"/><Relationship Id="rId15" Type="http://schemas.openxmlformats.org/officeDocument/2006/relationships/chart" Target="../charts/chart178.xml"/><Relationship Id="rId16" Type="http://schemas.openxmlformats.org/officeDocument/2006/relationships/chart" Target="../charts/chart179.xml"/><Relationship Id="rId17" Type="http://schemas.openxmlformats.org/officeDocument/2006/relationships/chart" Target="../charts/chart18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1.xml"/><Relationship Id="rId7" Type="http://schemas.openxmlformats.org/officeDocument/2006/relationships/chart" Target="../charts/chart182.xml"/><Relationship Id="rId8" Type="http://schemas.openxmlformats.org/officeDocument/2006/relationships/chart" Target="../charts/chart183.xml"/><Relationship Id="rId9" Type="http://schemas.openxmlformats.org/officeDocument/2006/relationships/chart" Target="../charts/chart184.xml"/><Relationship Id="rId10" Type="http://schemas.openxmlformats.org/officeDocument/2006/relationships/chart" Target="../charts/chart185.xml"/><Relationship Id="rId11" Type="http://schemas.openxmlformats.org/officeDocument/2006/relationships/chart" Target="../charts/chart186.xml"/><Relationship Id="rId12" Type="http://schemas.openxmlformats.org/officeDocument/2006/relationships/chart" Target="../charts/chart187.xml"/><Relationship Id="rId13" Type="http://schemas.openxmlformats.org/officeDocument/2006/relationships/chart" Target="../charts/chart188.xml"/><Relationship Id="rId14" Type="http://schemas.openxmlformats.org/officeDocument/2006/relationships/chart" Target="../charts/chart189.xml"/><Relationship Id="rId15" Type="http://schemas.openxmlformats.org/officeDocument/2006/relationships/chart" Target="../charts/chart190.xml"/><Relationship Id="rId16" Type="http://schemas.openxmlformats.org/officeDocument/2006/relationships/chart" Target="../charts/chart191.xml"/><Relationship Id="rId17" Type="http://schemas.openxmlformats.org/officeDocument/2006/relationships/chart" Target="../charts/chart192.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 Id="rId14" Type="http://schemas.openxmlformats.org/officeDocument/2006/relationships/chart" Target="../charts/chart201.xml"/><Relationship Id="rId15" Type="http://schemas.openxmlformats.org/officeDocument/2006/relationships/chart" Target="../charts/chart202.xml"/><Relationship Id="rId16" Type="http://schemas.openxmlformats.org/officeDocument/2006/relationships/chart" Target="../charts/chart203.xml"/><Relationship Id="rId17" Type="http://schemas.openxmlformats.org/officeDocument/2006/relationships/chart" Target="../charts/chart204.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5.xml"/><Relationship Id="rId7" Type="http://schemas.openxmlformats.org/officeDocument/2006/relationships/chart" Target="../charts/chart206.xml"/><Relationship Id="rId8" Type="http://schemas.openxmlformats.org/officeDocument/2006/relationships/chart" Target="../charts/chart207.xml"/><Relationship Id="rId9" Type="http://schemas.openxmlformats.org/officeDocument/2006/relationships/chart" Target="../charts/chart208.xml"/><Relationship Id="rId10" Type="http://schemas.openxmlformats.org/officeDocument/2006/relationships/chart" Target="../charts/chart209.xml"/><Relationship Id="rId11" Type="http://schemas.openxmlformats.org/officeDocument/2006/relationships/chart" Target="../charts/chart210.xml"/><Relationship Id="rId12" Type="http://schemas.openxmlformats.org/officeDocument/2006/relationships/chart" Target="../charts/chart211.xml"/><Relationship Id="rId13" Type="http://schemas.openxmlformats.org/officeDocument/2006/relationships/chart" Target="../charts/chart212.xml"/><Relationship Id="rId14" Type="http://schemas.openxmlformats.org/officeDocument/2006/relationships/chart" Target="../charts/chart213.xml"/><Relationship Id="rId15" Type="http://schemas.openxmlformats.org/officeDocument/2006/relationships/chart" Target="../charts/chart214.xml"/><Relationship Id="rId16" Type="http://schemas.openxmlformats.org/officeDocument/2006/relationships/chart" Target="../charts/chart215.xml"/><Relationship Id="rId17" Type="http://schemas.openxmlformats.org/officeDocument/2006/relationships/chart" Target="../charts/chart216.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 Id="rId14" Type="http://schemas.openxmlformats.org/officeDocument/2006/relationships/chart" Target="../charts/chart225.xml"/><Relationship Id="rId15" Type="http://schemas.openxmlformats.org/officeDocument/2006/relationships/chart" Target="../charts/chart226.xml"/><Relationship Id="rId16" Type="http://schemas.openxmlformats.org/officeDocument/2006/relationships/chart" Target="../charts/chart227.xml"/><Relationship Id="rId17" Type="http://schemas.openxmlformats.org/officeDocument/2006/relationships/chart" Target="../charts/chart228.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 Id="rId7" Type="http://schemas.openxmlformats.org/officeDocument/2006/relationships/chart" Target="../charts/chart14.xml"/><Relationship Id="rId8" Type="http://schemas.openxmlformats.org/officeDocument/2006/relationships/chart" Target="../charts/chart15.xml"/><Relationship Id="rId9" Type="http://schemas.openxmlformats.org/officeDocument/2006/relationships/chart" Target="../charts/chart16.xml"/><Relationship Id="rId10" Type="http://schemas.openxmlformats.org/officeDocument/2006/relationships/chart" Target="../charts/chart17.xml"/><Relationship Id="rId11" Type="http://schemas.openxmlformats.org/officeDocument/2006/relationships/chart" Target="../charts/chart18.xml"/><Relationship Id="rId12" Type="http://schemas.openxmlformats.org/officeDocument/2006/relationships/chart" Target="../charts/chart19.xml"/><Relationship Id="rId13" Type="http://schemas.openxmlformats.org/officeDocument/2006/relationships/chart" Target="../charts/chart20.xml"/><Relationship Id="rId14" Type="http://schemas.openxmlformats.org/officeDocument/2006/relationships/chart" Target="../charts/chart21.xml"/><Relationship Id="rId15" Type="http://schemas.openxmlformats.org/officeDocument/2006/relationships/chart" Target="../charts/chart22.xml"/><Relationship Id="rId16" Type="http://schemas.openxmlformats.org/officeDocument/2006/relationships/chart" Target="../charts/chart23.xml"/><Relationship Id="rId17" Type="http://schemas.openxmlformats.org/officeDocument/2006/relationships/chart" Target="../charts/chart24.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9.xml"/><Relationship Id="rId7" Type="http://schemas.openxmlformats.org/officeDocument/2006/relationships/chart" Target="../charts/chart230.xml"/><Relationship Id="rId8" Type="http://schemas.openxmlformats.org/officeDocument/2006/relationships/chart" Target="../charts/chart231.xml"/><Relationship Id="rId9" Type="http://schemas.openxmlformats.org/officeDocument/2006/relationships/chart" Target="../charts/chart232.xml"/><Relationship Id="rId10" Type="http://schemas.openxmlformats.org/officeDocument/2006/relationships/chart" Target="../charts/chart233.xml"/><Relationship Id="rId11" Type="http://schemas.openxmlformats.org/officeDocument/2006/relationships/chart" Target="../charts/chart234.xml"/><Relationship Id="rId12" Type="http://schemas.openxmlformats.org/officeDocument/2006/relationships/chart" Target="../charts/chart235.xml"/><Relationship Id="rId13" Type="http://schemas.openxmlformats.org/officeDocument/2006/relationships/chart" Target="../charts/chart236.xml"/><Relationship Id="rId14" Type="http://schemas.openxmlformats.org/officeDocument/2006/relationships/chart" Target="../charts/chart237.xml"/><Relationship Id="rId15" Type="http://schemas.openxmlformats.org/officeDocument/2006/relationships/chart" Target="../charts/chart238.xml"/><Relationship Id="rId16" Type="http://schemas.openxmlformats.org/officeDocument/2006/relationships/chart" Target="../charts/chart239.xml"/><Relationship Id="rId17" Type="http://schemas.openxmlformats.org/officeDocument/2006/relationships/chart" Target="../charts/chart24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 Id="rId14" Type="http://schemas.openxmlformats.org/officeDocument/2006/relationships/chart" Target="../charts/chart249.xml"/><Relationship Id="rId15" Type="http://schemas.openxmlformats.org/officeDocument/2006/relationships/chart" Target="../charts/chart250.xml"/><Relationship Id="rId16" Type="http://schemas.openxmlformats.org/officeDocument/2006/relationships/chart" Target="../charts/chart251.xml"/><Relationship Id="rId17" Type="http://schemas.openxmlformats.org/officeDocument/2006/relationships/chart" Target="../charts/chart252.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3.xml"/><Relationship Id="rId7" Type="http://schemas.openxmlformats.org/officeDocument/2006/relationships/chart" Target="../charts/chart254.xml"/><Relationship Id="rId8" Type="http://schemas.openxmlformats.org/officeDocument/2006/relationships/chart" Target="../charts/chart255.xml"/><Relationship Id="rId9" Type="http://schemas.openxmlformats.org/officeDocument/2006/relationships/chart" Target="../charts/chart256.xml"/><Relationship Id="rId10" Type="http://schemas.openxmlformats.org/officeDocument/2006/relationships/chart" Target="../charts/chart257.xml"/><Relationship Id="rId11" Type="http://schemas.openxmlformats.org/officeDocument/2006/relationships/chart" Target="../charts/chart258.xml"/><Relationship Id="rId12" Type="http://schemas.openxmlformats.org/officeDocument/2006/relationships/chart" Target="../charts/chart259.xml"/><Relationship Id="rId13" Type="http://schemas.openxmlformats.org/officeDocument/2006/relationships/chart" Target="../charts/chart260.xml"/><Relationship Id="rId14" Type="http://schemas.openxmlformats.org/officeDocument/2006/relationships/chart" Target="../charts/chart261.xml"/><Relationship Id="rId15" Type="http://schemas.openxmlformats.org/officeDocument/2006/relationships/chart" Target="../charts/chart262.xml"/><Relationship Id="rId16" Type="http://schemas.openxmlformats.org/officeDocument/2006/relationships/chart" Target="../charts/chart263.xml"/><Relationship Id="rId17" Type="http://schemas.openxmlformats.org/officeDocument/2006/relationships/chart" Target="../charts/chart264.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 Id="rId17" Type="http://schemas.openxmlformats.org/officeDocument/2006/relationships/chart" Target="../charts/chart276.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7.xml"/><Relationship Id="rId7" Type="http://schemas.openxmlformats.org/officeDocument/2006/relationships/chart" Target="../charts/chart278.xml"/><Relationship Id="rId8" Type="http://schemas.openxmlformats.org/officeDocument/2006/relationships/chart" Target="../charts/chart279.xml"/><Relationship Id="rId9" Type="http://schemas.openxmlformats.org/officeDocument/2006/relationships/chart" Target="../charts/chart280.xml"/><Relationship Id="rId10" Type="http://schemas.openxmlformats.org/officeDocument/2006/relationships/chart" Target="../charts/chart281.xml"/><Relationship Id="rId11" Type="http://schemas.openxmlformats.org/officeDocument/2006/relationships/chart" Target="../charts/chart282.xml"/><Relationship Id="rId12" Type="http://schemas.openxmlformats.org/officeDocument/2006/relationships/chart" Target="../charts/chart283.xml"/><Relationship Id="rId13" Type="http://schemas.openxmlformats.org/officeDocument/2006/relationships/chart" Target="../charts/chart284.xml"/><Relationship Id="rId14" Type="http://schemas.openxmlformats.org/officeDocument/2006/relationships/chart" Target="../charts/chart285.xml"/><Relationship Id="rId15" Type="http://schemas.openxmlformats.org/officeDocument/2006/relationships/chart" Target="../charts/chart286.xml"/><Relationship Id="rId16" Type="http://schemas.openxmlformats.org/officeDocument/2006/relationships/chart" Target="../charts/chart287.xml"/><Relationship Id="rId17" Type="http://schemas.openxmlformats.org/officeDocument/2006/relationships/chart" Target="../charts/chart288.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9.xml"/><Relationship Id="rId7" Type="http://schemas.openxmlformats.org/officeDocument/2006/relationships/chart" Target="../charts/chart290.xml"/><Relationship Id="rId8" Type="http://schemas.openxmlformats.org/officeDocument/2006/relationships/chart" Target="../charts/chart291.xml"/><Relationship Id="rId9" Type="http://schemas.openxmlformats.org/officeDocument/2006/relationships/chart" Target="../charts/chart292.xml"/><Relationship Id="rId10" Type="http://schemas.openxmlformats.org/officeDocument/2006/relationships/chart" Target="../charts/chart293.xml"/><Relationship Id="rId11" Type="http://schemas.openxmlformats.org/officeDocument/2006/relationships/chart" Target="../charts/chart294.xml"/><Relationship Id="rId12" Type="http://schemas.openxmlformats.org/officeDocument/2006/relationships/chart" Target="../charts/chart295.xml"/><Relationship Id="rId13" Type="http://schemas.openxmlformats.org/officeDocument/2006/relationships/chart" Target="../charts/chart296.xml"/><Relationship Id="rId14" Type="http://schemas.openxmlformats.org/officeDocument/2006/relationships/chart" Target="../charts/chart297.xml"/><Relationship Id="rId15" Type="http://schemas.openxmlformats.org/officeDocument/2006/relationships/chart" Target="../charts/chart298.xml"/><Relationship Id="rId16" Type="http://schemas.openxmlformats.org/officeDocument/2006/relationships/chart" Target="../charts/chart299.xml"/><Relationship Id="rId17" Type="http://schemas.openxmlformats.org/officeDocument/2006/relationships/chart" Target="../charts/chart300.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 Id="rId14" Type="http://schemas.openxmlformats.org/officeDocument/2006/relationships/chart" Target="../charts/chart33.xml"/><Relationship Id="rId15" Type="http://schemas.openxmlformats.org/officeDocument/2006/relationships/chart" Target="../charts/chart34.xml"/><Relationship Id="rId16" Type="http://schemas.openxmlformats.org/officeDocument/2006/relationships/chart" Target="../charts/chart35.xml"/><Relationship Id="rId17" Type="http://schemas.openxmlformats.org/officeDocument/2006/relationships/chart" Target="../charts/chart36.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 Id="rId7" Type="http://schemas.openxmlformats.org/officeDocument/2006/relationships/chart" Target="../charts/chart38.xml"/><Relationship Id="rId8" Type="http://schemas.openxmlformats.org/officeDocument/2006/relationships/chart" Target="../charts/chart39.xml"/><Relationship Id="rId9" Type="http://schemas.openxmlformats.org/officeDocument/2006/relationships/chart" Target="../charts/chart40.xml"/><Relationship Id="rId10" Type="http://schemas.openxmlformats.org/officeDocument/2006/relationships/chart" Target="../charts/chart41.xml"/><Relationship Id="rId11" Type="http://schemas.openxmlformats.org/officeDocument/2006/relationships/chart" Target="../charts/chart42.xml"/><Relationship Id="rId12" Type="http://schemas.openxmlformats.org/officeDocument/2006/relationships/chart" Target="../charts/chart43.xml"/><Relationship Id="rId13" Type="http://schemas.openxmlformats.org/officeDocument/2006/relationships/chart" Target="../charts/chart44.xml"/><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 Id="rId14" Type="http://schemas.openxmlformats.org/officeDocument/2006/relationships/chart" Target="../charts/chart57.xml"/><Relationship Id="rId15" Type="http://schemas.openxmlformats.org/officeDocument/2006/relationships/chart" Target="../charts/chart58.xml"/><Relationship Id="rId16" Type="http://schemas.openxmlformats.org/officeDocument/2006/relationships/chart" Target="../charts/chart59.xml"/><Relationship Id="rId17" Type="http://schemas.openxmlformats.org/officeDocument/2006/relationships/chart" Target="../charts/chart6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1.xml"/><Relationship Id="rId7" Type="http://schemas.openxmlformats.org/officeDocument/2006/relationships/chart" Target="../charts/chart62.xml"/><Relationship Id="rId8" Type="http://schemas.openxmlformats.org/officeDocument/2006/relationships/chart" Target="../charts/chart63.xml"/><Relationship Id="rId9" Type="http://schemas.openxmlformats.org/officeDocument/2006/relationships/chart" Target="../charts/chart64.xml"/><Relationship Id="rId10" Type="http://schemas.openxmlformats.org/officeDocument/2006/relationships/chart" Target="../charts/chart65.xml"/><Relationship Id="rId11" Type="http://schemas.openxmlformats.org/officeDocument/2006/relationships/chart" Target="../charts/chart66.xml"/><Relationship Id="rId12" Type="http://schemas.openxmlformats.org/officeDocument/2006/relationships/chart" Target="../charts/chart67.xml"/><Relationship Id="rId13" Type="http://schemas.openxmlformats.org/officeDocument/2006/relationships/chart" Target="../charts/chart68.xml"/><Relationship Id="rId14" Type="http://schemas.openxmlformats.org/officeDocument/2006/relationships/chart" Target="../charts/chart69.xml"/><Relationship Id="rId15" Type="http://schemas.openxmlformats.org/officeDocument/2006/relationships/chart" Target="../charts/chart70.xml"/><Relationship Id="rId16" Type="http://schemas.openxmlformats.org/officeDocument/2006/relationships/chart" Target="../charts/chart71.xml"/><Relationship Id="rId17" Type="http://schemas.openxmlformats.org/officeDocument/2006/relationships/chart" Target="../charts/chart72.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 Id="rId14" Type="http://schemas.openxmlformats.org/officeDocument/2006/relationships/chart" Target="../charts/chart81.xml"/><Relationship Id="rId15" Type="http://schemas.openxmlformats.org/officeDocument/2006/relationships/chart" Target="../charts/chart82.xml"/><Relationship Id="rId16" Type="http://schemas.openxmlformats.org/officeDocument/2006/relationships/chart" Target="../charts/chart83.xml"/><Relationship Id="rId17" Type="http://schemas.openxmlformats.org/officeDocument/2006/relationships/chart" Target="../charts/chart84.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5.xml"/><Relationship Id="rId7" Type="http://schemas.openxmlformats.org/officeDocument/2006/relationships/chart" Target="../charts/chart86.xml"/><Relationship Id="rId8" Type="http://schemas.openxmlformats.org/officeDocument/2006/relationships/chart" Target="../charts/chart87.xml"/><Relationship Id="rId9" Type="http://schemas.openxmlformats.org/officeDocument/2006/relationships/chart" Target="../charts/chart88.xml"/><Relationship Id="rId10" Type="http://schemas.openxmlformats.org/officeDocument/2006/relationships/chart" Target="../charts/chart89.xml"/><Relationship Id="rId11" Type="http://schemas.openxmlformats.org/officeDocument/2006/relationships/chart" Target="../charts/chart90.xml"/><Relationship Id="rId12" Type="http://schemas.openxmlformats.org/officeDocument/2006/relationships/chart" Target="../charts/chart91.xml"/><Relationship Id="rId13" Type="http://schemas.openxmlformats.org/officeDocument/2006/relationships/chart" Target="../charts/chart92.xml"/><Relationship Id="rId14" Type="http://schemas.openxmlformats.org/officeDocument/2006/relationships/chart" Target="../charts/chart93.xml"/><Relationship Id="rId15" Type="http://schemas.openxmlformats.org/officeDocument/2006/relationships/chart" Target="../charts/chart94.xml"/><Relationship Id="rId16" Type="http://schemas.openxmlformats.org/officeDocument/2006/relationships/chart" Target="../charts/chart95.xml"/><Relationship Id="rId17" Type="http://schemas.openxmlformats.org/officeDocument/2006/relationships/chart" Target="../charts/chart96.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 Id="rId14" Type="http://schemas.openxmlformats.org/officeDocument/2006/relationships/chart" Target="../charts/chart105.xml"/><Relationship Id="rId15" Type="http://schemas.openxmlformats.org/officeDocument/2006/relationships/chart" Target="../charts/chart106.xml"/><Relationship Id="rId16" Type="http://schemas.openxmlformats.org/officeDocument/2006/relationships/chart" Target="../charts/chart107.xml"/><Relationship Id="rId17" Type="http://schemas.openxmlformats.org/officeDocument/2006/relationships/chart" Target="../charts/chart1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89348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76132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71688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914287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5439000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280774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27222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537866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75994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6205668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Total Fromag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54092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1649378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873663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51860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2</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315350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508201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550873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2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oft Chees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3885124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3</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6684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4</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Enfant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8461667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5</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Aperitif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6563550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6</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Aperitif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6014501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alade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154932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Carrefou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Salade | Carrefour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06669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40E98-C957-9EC9-D9DA-7DA8F70AEFC7}"/>
            </a:ext>
          </a:extLst>
        </p:cNvPr>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80C73DF3-0861-F114-0B90-AAA97E1D4C0D}"/>
              </a:ext>
            </a:extLst>
          </p:cNvPr>
          <p:cNvGraphicFramePr>
            <a:graphicFrameLocks noGrp="1"/>
          </p:cNvGraphicFramePr>
          <p:nvPr>
            <p:extLst>
              <p:ext uri="{D42A27DB-BD31-4B8C-83A1-F6EECF244321}">
                <p14:modId xmlns:p14="http://schemas.microsoft.com/office/powerpoint/2010/main" val="1085446444"/>
              </p:ext>
            </p:extLst>
          </p:nvPr>
        </p:nvGraphicFramePr>
        <p:xfrm>
          <a:off x="503241" y="1123932"/>
          <a:ext cx="3213116" cy="3602734"/>
        </p:xfrm>
        <a:graphic>
          <a:graphicData uri="http://schemas.openxmlformats.org/drawingml/2006/table">
            <a:tbl>
              <a:tblPr firstRow="1" bandRow="1">
                <a:tableStyleId>{5C22544A-7EE6-4342-B048-85BDC9FD1C3A}</a:tableStyleId>
              </a:tblPr>
              <a:tblGrid>
                <a:gridCol w="649224">
                  <a:extLst>
                    <a:ext uri="{9D8B030D-6E8A-4147-A177-3AD203B41FA5}">
                      <a16:colId xmlns:a16="http://schemas.microsoft.com/office/drawing/2014/main" val="197945009"/>
                    </a:ext>
                  </a:extLst>
                </a:gridCol>
                <a:gridCol w="640973">
                  <a:extLst>
                    <a:ext uri="{9D8B030D-6E8A-4147-A177-3AD203B41FA5}">
                      <a16:colId xmlns:a16="http://schemas.microsoft.com/office/drawing/2014/main" val="252781202"/>
                    </a:ext>
                  </a:extLst>
                </a:gridCol>
                <a:gridCol w="640973">
                  <a:extLst>
                    <a:ext uri="{9D8B030D-6E8A-4147-A177-3AD203B41FA5}">
                      <a16:colId xmlns:a16="http://schemas.microsoft.com/office/drawing/2014/main" val="4162334268"/>
                    </a:ext>
                  </a:extLst>
                </a:gridCol>
                <a:gridCol w="640973">
                  <a:extLst>
                    <a:ext uri="{9D8B030D-6E8A-4147-A177-3AD203B41FA5}">
                      <a16:colId xmlns:a16="http://schemas.microsoft.com/office/drawing/2014/main" val="815751563"/>
                    </a:ext>
                  </a:extLst>
                </a:gridCol>
                <a:gridCol w="640973">
                  <a:extLst>
                    <a:ext uri="{9D8B030D-6E8A-4147-A177-3AD203B41FA5}">
                      <a16:colId xmlns:a16="http://schemas.microsoft.com/office/drawing/2014/main" val="3305075663"/>
                    </a:ext>
                  </a:extLst>
                </a:gridCol>
              </a:tblGrid>
              <a:tr h="15473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NATIONAL</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Intermarch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sz="1000" b="0">
                          <a:solidFill>
                            <a:srgbClr val="575555"/>
                          </a:solidFill>
                          <a:latin typeface="Nexa Bold"/>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409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73366">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3366">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3366">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73366">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US" sz="800" b="1" i="0" u="none" strike="noStrike" dirty="0">
                          <a:solidFill>
                            <a:srgbClr val="00A097"/>
                          </a:solidFill>
                          <a:effectLst/>
                          <a:latin typeface="Nexa Book" panose="00000400000000000000" pitchFamily="2" charset="0"/>
                        </a:rPr>
                        <a:t>2</a:t>
                      </a:r>
                      <a:r>
                        <a:rPr lang="en-CH" sz="800" b="1" i="0" u="none" strike="noStrike" dirty="0">
                          <a:solidFill>
                            <a:srgbClr val="00A097"/>
                          </a:solidFill>
                          <a:effectLst/>
                          <a:latin typeface="Nexa Book" panose="00000400000000000000" pitchFamily="2" charset="0"/>
                        </a:rPr>
                        <a:t>%</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73366">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r>
                        <a:rPr lang="en-CH" sz="800" b="1" i="0" u="none" strike="noStrike" dirty="0">
                          <a:solidFill>
                            <a:srgbClr val="00A097"/>
                          </a:solidFill>
                          <a:effectLst/>
                          <a:latin typeface="Nexa Book" panose="00000400000000000000" pitchFamily="2" charset="0"/>
                        </a:rP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73366">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defRPr sz="800" b="1">
                          <a:solidFill>
                            <a:srgbClr val="00A097"/>
                          </a:solidFill>
                          <a:latin typeface="Nexa Book"/>
                        </a:defRPr>
                      </a:pP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73366">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73366">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73366">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73366">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73366">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fontAlgn="b">
                        <a:defRPr sz="800" b="1">
                          <a:solidFill>
                            <a:srgbClr val="00A097"/>
                          </a:solidFill>
                          <a:latin typeface="Nexa Book"/>
                        </a:defRPr>
                      </a:pPr>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r" defTabSz="914400" rtl="0" eaLnBrk="1" fontAlgn="b" latinLnBrk="0" hangingPunct="1">
                        <a:defRPr sz="800" b="1">
                          <a:solidFill>
                            <a:srgbClr val="00A097"/>
                          </a:solidFill>
                          <a:latin typeface="Nexa Book"/>
                        </a:defRPr>
                      </a:pPr>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0.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07657272-08E5-6056-9DA1-6CCCB55AF00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F7102F30-DA8F-EFB1-82C2-EF0EA605AF29}"/>
              </a:ext>
            </a:extLst>
          </p:cNvPr>
          <p:cNvSpPr>
            <a:spLocks noGrp="1"/>
          </p:cNvSpPr>
          <p:nvPr>
            <p:ph type="ftr" sz="quarter" idx="15"/>
          </p:nvPr>
        </p:nvSpPr>
        <p:spPr>
          <a:xfrm>
            <a:off x="546969" y="4970700"/>
            <a:ext cx="6451742" cy="174151"/>
          </a:xfrm>
        </p:spPr>
        <p: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sp>
        <p:nvSpPr>
          <p:cNvPr id="9" name="Slide Number Placeholder 8">
            <a:extLst>
              <a:ext uri="{FF2B5EF4-FFF2-40B4-BE49-F238E27FC236}">
                <a16:creationId xmlns:a16="http://schemas.microsoft.com/office/drawing/2014/main" id="{7B35E9BD-56A3-4B21-7B2A-B24A2E370CA9}"/>
              </a:ext>
            </a:extLst>
          </p:cNvPr>
          <p:cNvSpPr>
            <a:spLocks noGrp="1"/>
          </p:cNvSpPr>
          <p:nvPr>
            <p:ph type="sldNum" sz="quarter" idx="16"/>
          </p:nvPr>
        </p:nvSpPr>
        <p:spPr>
          <a:xfrm>
            <a:off x="8640762" y="4972050"/>
            <a:ext cx="369965" cy="172800"/>
          </a:xfrm>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7B1F438D-4EAF-094E-9162-80CF3EF77236}" type="slidenum">
              <a:rPr kumimoji="0" lang="en-US" sz="500" b="0" i="0" u="none" strike="noStrike" kern="1200" cap="none" spc="0" normalizeH="0" baseline="0" noProof="0" smtClean="0">
                <a:ln>
                  <a:noFill/>
                </a:ln>
                <a:solidFill>
                  <a:srgbClr val="575555"/>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a:t>
            </a:fld>
            <a:endParaRPr kumimoji="0" lang="en-US" sz="500" b="0" i="0" u="none" strike="noStrike" kern="1200" cap="none" spc="0" normalizeH="0" baseline="0" noProof="0">
              <a:ln>
                <a:noFill/>
              </a:ln>
              <a:solidFill>
                <a:srgbClr val="575555"/>
              </a:solidFill>
              <a:effectLst/>
              <a:uLnTx/>
              <a:uFillTx/>
              <a:latin typeface="Nexa Book" panose="00000400000000000000" pitchFamily="50" charset="0"/>
              <a:ea typeface="+mn-ea"/>
              <a:cs typeface="Dubai Light"/>
            </a:endParaRPr>
          </a:p>
        </p:txBody>
      </p:sp>
      <p:sp>
        <p:nvSpPr>
          <p:cNvPr id="36" name="Text Placeholder 35">
            <a:extLst>
              <a:ext uri="{FF2B5EF4-FFF2-40B4-BE49-F238E27FC236}">
                <a16:creationId xmlns:a16="http://schemas.microsoft.com/office/drawing/2014/main" id="{B9FCC24F-518F-BED5-C023-91AFDB755032}"/>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8B98F8F-2AD4-2BF3-AF55-681F5202B7A9}"/>
              </a:ext>
            </a:extLst>
          </p:cNvPr>
          <p:cNvSpPr>
            <a:spLocks noGrp="1"/>
          </p:cNvSpPr>
          <p:nvPr>
            <p:ph type="body" sz="quarter" idx="18"/>
          </p:nvPr>
        </p:nvSpPr>
        <p:spPr>
          <a:xfrm>
            <a:off x="503238" y="774000"/>
            <a:ext cx="8136762" cy="360000"/>
          </a:xfrm>
        </p:spPr>
        <p:txBody>
          <a:bodyPr/>
          <a:lstStyle/>
          <a:p>
            <a:r>
              <a:t>Brand Share Topline By Base Price Bracket | By Frais A Tartiner | Intermarche | P12M</a:t>
            </a:r>
          </a:p>
        </p:txBody>
      </p:sp>
      <p:sp>
        <p:nvSpPr>
          <p:cNvPr id="5" name="Title 4">
            <a:extLst>
              <a:ext uri="{FF2B5EF4-FFF2-40B4-BE49-F238E27FC236}">
                <a16:creationId xmlns:a16="http://schemas.microsoft.com/office/drawing/2014/main" id="{41330AED-8449-917E-ED83-74364B886AF1}"/>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11D1D411-6CA9-D4C1-D2F4-E4382B474C90}"/>
              </a:ext>
            </a:extLst>
          </p:cNvPr>
          <p:cNvSpPr>
            <a:spLocks noGrp="1"/>
          </p:cNvSpPr>
          <p:nvPr>
            <p:ph type="dt" sz="half" idx="1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99125DCF-BE40-45C7-8EBD-A29B9FFEB9F3}" type="datetime1">
              <a:rPr kumimoji="0" lang="en-US" sz="500" b="0" i="0" u="none" strike="noStrike" kern="1200" cap="none" spc="0" normalizeH="0" baseline="0" noProof="0" smtClean="0">
                <a:ln>
                  <a:noFill/>
                </a:ln>
                <a:solidFill>
                  <a:srgbClr val="E6E5E5">
                    <a:lumMod val="50000"/>
                  </a:srgbClr>
                </a:solidFill>
                <a:effectLst/>
                <a:uLnTx/>
                <a:uFillTx/>
                <a:latin typeface="Nexa Book" panose="00000400000000000000" pitchFamily="50" charset="0"/>
                <a:ea typeface="+mn-ea"/>
                <a:cs typeface="Dubai Light"/>
              </a:rPr>
              <a:pPr marL="0" marR="0" lvl="0" indent="0" algn="r" defTabSz="514350" rtl="0" eaLnBrk="1" fontAlgn="auto" latinLnBrk="0" hangingPunct="1">
                <a:lnSpc>
                  <a:spcPct val="100000"/>
                </a:lnSpc>
                <a:spcBef>
                  <a:spcPts val="0"/>
                </a:spcBef>
                <a:spcAft>
                  <a:spcPts val="0"/>
                </a:spcAft>
                <a:buClrTx/>
                <a:buSzTx/>
                <a:buFontTx/>
                <a:buNone/>
                <a:tabLst/>
                <a:defRPr/>
              </a:pPr>
              <a:t>9/14/2025</a:t>
            </a:fld>
            <a:endParaRPr kumimoji="0" lang="en-US" sz="500" b="0" i="0" u="none" strike="noStrike" kern="1200" cap="none" spc="0" normalizeH="0" baseline="0" noProof="0">
              <a:ln>
                <a:noFill/>
              </a:ln>
              <a:solidFill>
                <a:srgbClr val="E6E5E5">
                  <a:lumMod val="50000"/>
                </a:srgbClr>
              </a:solidFill>
              <a:effectLst/>
              <a:uLnTx/>
              <a:uFillTx/>
              <a:latin typeface="Nexa Book" panose="00000400000000000000" pitchFamily="50" charset="0"/>
              <a:ea typeface="+mn-ea"/>
              <a:cs typeface="Dubai Light"/>
            </a:endParaRPr>
          </a:p>
        </p:txBody>
      </p:sp>
      <p:graphicFrame>
        <p:nvGraphicFramePr>
          <p:cNvPr id="11" name="T1-C2">
            <a:extLst>
              <a:ext uri="{FF2B5EF4-FFF2-40B4-BE49-F238E27FC236}">
                <a16:creationId xmlns:a16="http://schemas.microsoft.com/office/drawing/2014/main" id="{76904C7D-8453-1F3C-5410-979695488546}"/>
              </a:ext>
            </a:extLst>
          </p:cNvPr>
          <p:cNvGraphicFramePr>
            <a:graphicFrameLocks/>
          </p:cNvGraphicFramePr>
          <p:nvPr>
            <p:extLst>
              <p:ext uri="{D42A27DB-BD31-4B8C-83A1-F6EECF244321}">
                <p14:modId xmlns:p14="http://schemas.microsoft.com/office/powerpoint/2010/main" val="1916400440"/>
              </p:ext>
            </p:extLst>
          </p:nvPr>
        </p:nvGraphicFramePr>
        <p:xfrm>
          <a:off x="1138935" y="1722013"/>
          <a:ext cx="640080" cy="30175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53025142-77CD-50AE-3D8A-20232594FB8D}"/>
              </a:ext>
            </a:extLst>
          </p:cNvPr>
          <p:cNvGraphicFramePr>
            <a:graphicFrameLocks/>
          </p:cNvGraphicFramePr>
          <p:nvPr>
            <p:extLst>
              <p:ext uri="{D42A27DB-BD31-4B8C-83A1-F6EECF244321}">
                <p14:modId xmlns:p14="http://schemas.microsoft.com/office/powerpoint/2010/main" val="1525883240"/>
              </p:ext>
            </p:extLst>
          </p:nvPr>
        </p:nvGraphicFramePr>
        <p:xfrm>
          <a:off x="1769643" y="1718697"/>
          <a:ext cx="464247" cy="30175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0A1B1B67-0832-7996-C733-FA1B3A447994}"/>
              </a:ext>
            </a:extLst>
          </p:cNvPr>
          <p:cNvGraphicFramePr>
            <a:graphicFrameLocks/>
          </p:cNvGraphicFramePr>
          <p:nvPr>
            <p:extLst>
              <p:ext uri="{D42A27DB-BD31-4B8C-83A1-F6EECF244321}">
                <p14:modId xmlns:p14="http://schemas.microsoft.com/office/powerpoint/2010/main" val="2180071283"/>
              </p:ext>
            </p:extLst>
          </p:nvPr>
        </p:nvGraphicFramePr>
        <p:xfrm>
          <a:off x="2416500" y="1731961"/>
          <a:ext cx="640080" cy="30175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74F5CDBE-EC60-0547-A7B5-CD1F3BAD8DA3}"/>
              </a:ext>
            </a:extLst>
          </p:cNvPr>
          <p:cNvGraphicFramePr>
            <a:graphicFrameLocks/>
          </p:cNvGraphicFramePr>
          <p:nvPr>
            <p:extLst>
              <p:ext uri="{D42A27DB-BD31-4B8C-83A1-F6EECF244321}">
                <p14:modId xmlns:p14="http://schemas.microsoft.com/office/powerpoint/2010/main" val="2567044199"/>
              </p:ext>
            </p:extLst>
          </p:nvPr>
        </p:nvGraphicFramePr>
        <p:xfrm>
          <a:off x="3049576" y="1730303"/>
          <a:ext cx="466344" cy="301752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388254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2875</Words>
  <Application>Microsoft Office PowerPoint</Application>
  <PresentationFormat>On-screen Show (16:9)</PresentationFormat>
  <Paragraphs>1075</Paragraphs>
  <Slides>25</Slides>
  <Notes>2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6"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1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